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188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1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F7E71B-A9A6-ECDF-5809-14C6058B8F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7541E58A-B668-C332-975F-B8397EF39E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541E58A-B668-C332-975F-B8397EF39E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6D284B5-FB6B-56CC-8C28-8FD1273542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5481CFA-A3FC-9687-E398-10ED1D6EF2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ircl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1478A0C9-685F-00E8-D7AE-7E5C854909BB}"/>
              </a:ext>
            </a:extLst>
          </p:cNvPr>
          <p:cNvGrpSpPr/>
          <p:nvPr/>
        </p:nvGrpSpPr>
        <p:grpSpPr>
          <a:xfrm>
            <a:off x="5086755" y="1544275"/>
            <a:ext cx="1958975" cy="1671638"/>
            <a:chOff x="5084945" y="1279317"/>
            <a:chExt cx="1958975" cy="1671638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BE827E29-8C5E-1298-CDE2-4B62A1DB4F9E}"/>
                </a:ext>
              </a:extLst>
            </p:cNvPr>
            <p:cNvSpPr>
              <a:spLocks/>
            </p:cNvSpPr>
            <p:nvPr/>
          </p:nvSpPr>
          <p:spPr bwMode="auto">
            <a:xfrm>
              <a:off x="5084945" y="1279317"/>
              <a:ext cx="1958975" cy="1604963"/>
            </a:xfrm>
            <a:custGeom>
              <a:avLst/>
              <a:gdLst>
                <a:gd name="T0" fmla="*/ 261 w 521"/>
                <a:gd name="T1" fmla="*/ 0 h 427"/>
                <a:gd name="T2" fmla="*/ 0 w 521"/>
                <a:gd name="T3" fmla="*/ 261 h 427"/>
                <a:gd name="T4" fmla="*/ 55 w 521"/>
                <a:gd name="T5" fmla="*/ 420 h 427"/>
                <a:gd name="T6" fmla="*/ 55 w 521"/>
                <a:gd name="T7" fmla="*/ 420 h 427"/>
                <a:gd name="T8" fmla="*/ 60 w 521"/>
                <a:gd name="T9" fmla="*/ 427 h 427"/>
                <a:gd name="T10" fmla="*/ 261 w 521"/>
                <a:gd name="T11" fmla="*/ 340 h 427"/>
                <a:gd name="T12" fmla="*/ 461 w 521"/>
                <a:gd name="T13" fmla="*/ 427 h 427"/>
                <a:gd name="T14" fmla="*/ 466 w 521"/>
                <a:gd name="T15" fmla="*/ 420 h 427"/>
                <a:gd name="T16" fmla="*/ 466 w 521"/>
                <a:gd name="T17" fmla="*/ 420 h 427"/>
                <a:gd name="T18" fmla="*/ 521 w 521"/>
                <a:gd name="T19" fmla="*/ 261 h 427"/>
                <a:gd name="T20" fmla="*/ 261 w 521"/>
                <a:gd name="T21" fmla="*/ 0 h 4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21" h="427">
                  <a:moveTo>
                    <a:pt x="261" y="0"/>
                  </a:moveTo>
                  <a:cubicBezTo>
                    <a:pt x="117" y="0"/>
                    <a:pt x="0" y="117"/>
                    <a:pt x="0" y="261"/>
                  </a:cubicBezTo>
                  <a:cubicBezTo>
                    <a:pt x="0" y="321"/>
                    <a:pt x="21" y="376"/>
                    <a:pt x="55" y="420"/>
                  </a:cubicBezTo>
                  <a:cubicBezTo>
                    <a:pt x="55" y="420"/>
                    <a:pt x="55" y="420"/>
                    <a:pt x="55" y="420"/>
                  </a:cubicBezTo>
                  <a:cubicBezTo>
                    <a:pt x="56" y="422"/>
                    <a:pt x="58" y="424"/>
                    <a:pt x="60" y="427"/>
                  </a:cubicBezTo>
                  <a:cubicBezTo>
                    <a:pt x="110" y="373"/>
                    <a:pt x="181" y="340"/>
                    <a:pt x="261" y="340"/>
                  </a:cubicBezTo>
                  <a:cubicBezTo>
                    <a:pt x="340" y="340"/>
                    <a:pt x="411" y="373"/>
                    <a:pt x="461" y="427"/>
                  </a:cubicBezTo>
                  <a:cubicBezTo>
                    <a:pt x="463" y="424"/>
                    <a:pt x="465" y="422"/>
                    <a:pt x="466" y="420"/>
                  </a:cubicBezTo>
                  <a:cubicBezTo>
                    <a:pt x="466" y="420"/>
                    <a:pt x="466" y="420"/>
                    <a:pt x="466" y="420"/>
                  </a:cubicBezTo>
                  <a:cubicBezTo>
                    <a:pt x="500" y="376"/>
                    <a:pt x="521" y="321"/>
                    <a:pt x="521" y="261"/>
                  </a:cubicBezTo>
                  <a:cubicBezTo>
                    <a:pt x="521" y="117"/>
                    <a:pt x="404" y="0"/>
                    <a:pt x="261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4400" dirty="0">
                <a:solidFill>
                  <a:srgbClr val="FFFFFF"/>
                </a:solidFill>
                <a:ea typeface="linea-basic-10" charset="0"/>
                <a:cs typeface="linea-basic-10" charset="0"/>
              </a:endParaRPr>
            </a:p>
          </p:txBody>
        </p:sp>
        <p:sp>
          <p:nvSpPr>
            <p:cNvPr id="7" name="Freeform 10">
              <a:extLst>
                <a:ext uri="{FF2B5EF4-FFF2-40B4-BE49-F238E27FC236}">
                  <a16:creationId xmlns:a16="http://schemas.microsoft.com/office/drawing/2014/main" id="{287AF17E-4A6C-B3FE-7A0D-707FBEB850FA}"/>
                </a:ext>
              </a:extLst>
            </p:cNvPr>
            <p:cNvSpPr>
              <a:spLocks/>
            </p:cNvSpPr>
            <p:nvPr/>
          </p:nvSpPr>
          <p:spPr bwMode="auto">
            <a:xfrm>
              <a:off x="5569133" y="2642980"/>
              <a:ext cx="989013" cy="307975"/>
            </a:xfrm>
            <a:custGeom>
              <a:avLst/>
              <a:gdLst>
                <a:gd name="T0" fmla="*/ 132 w 263"/>
                <a:gd name="T1" fmla="*/ 0 h 82"/>
                <a:gd name="T2" fmla="*/ 263 w 263"/>
                <a:gd name="T3" fmla="*/ 43 h 82"/>
                <a:gd name="T4" fmla="*/ 132 w 263"/>
                <a:gd name="T5" fmla="*/ 82 h 82"/>
                <a:gd name="T6" fmla="*/ 0 w 263"/>
                <a:gd name="T7" fmla="*/ 43 h 82"/>
                <a:gd name="T8" fmla="*/ 132 w 263"/>
                <a:gd name="T9" fmla="*/ 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3" h="82">
                  <a:moveTo>
                    <a:pt x="132" y="0"/>
                  </a:moveTo>
                  <a:cubicBezTo>
                    <a:pt x="181" y="0"/>
                    <a:pt x="226" y="16"/>
                    <a:pt x="263" y="43"/>
                  </a:cubicBezTo>
                  <a:cubicBezTo>
                    <a:pt x="228" y="67"/>
                    <a:pt x="182" y="82"/>
                    <a:pt x="132" y="82"/>
                  </a:cubicBezTo>
                  <a:cubicBezTo>
                    <a:pt x="81" y="82"/>
                    <a:pt x="35" y="67"/>
                    <a:pt x="0" y="43"/>
                  </a:cubicBezTo>
                  <a:cubicBezTo>
                    <a:pt x="37" y="16"/>
                    <a:pt x="82" y="0"/>
                    <a:pt x="132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dirty="0">
                  <a:solidFill>
                    <a:srgbClr val="FFFFFF"/>
                  </a:solidFill>
                </a:rPr>
                <a:t>1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84E14B0A-283E-A31A-D8FC-E2FDF372D4C4}"/>
              </a:ext>
            </a:extLst>
          </p:cNvPr>
          <p:cNvGrpSpPr/>
          <p:nvPr/>
        </p:nvGrpSpPr>
        <p:grpSpPr>
          <a:xfrm>
            <a:off x="3753255" y="2882538"/>
            <a:ext cx="1668463" cy="1954213"/>
            <a:chOff x="3751445" y="2617580"/>
            <a:chExt cx="1668463" cy="1954213"/>
          </a:xfrm>
        </p:grpSpPr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C5778386-F527-A776-0BD6-D61D60EDC66A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1445" y="2617580"/>
              <a:ext cx="1600200" cy="1954213"/>
            </a:xfrm>
            <a:custGeom>
              <a:avLst/>
              <a:gdLst>
                <a:gd name="T0" fmla="*/ 0 w 426"/>
                <a:gd name="T1" fmla="*/ 260 h 520"/>
                <a:gd name="T2" fmla="*/ 260 w 426"/>
                <a:gd name="T3" fmla="*/ 520 h 520"/>
                <a:gd name="T4" fmla="*/ 420 w 426"/>
                <a:gd name="T5" fmla="*/ 466 h 520"/>
                <a:gd name="T6" fmla="*/ 420 w 426"/>
                <a:gd name="T7" fmla="*/ 466 h 520"/>
                <a:gd name="T8" fmla="*/ 426 w 426"/>
                <a:gd name="T9" fmla="*/ 461 h 520"/>
                <a:gd name="T10" fmla="*/ 340 w 426"/>
                <a:gd name="T11" fmla="*/ 260 h 520"/>
                <a:gd name="T12" fmla="*/ 426 w 426"/>
                <a:gd name="T13" fmla="*/ 59 h 520"/>
                <a:gd name="T14" fmla="*/ 420 w 426"/>
                <a:gd name="T15" fmla="*/ 54 h 520"/>
                <a:gd name="T16" fmla="*/ 420 w 426"/>
                <a:gd name="T17" fmla="*/ 54 h 520"/>
                <a:gd name="T18" fmla="*/ 260 w 426"/>
                <a:gd name="T19" fmla="*/ 0 h 520"/>
                <a:gd name="T20" fmla="*/ 0 w 426"/>
                <a:gd name="T21" fmla="*/ 260 h 5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26" h="520">
                  <a:moveTo>
                    <a:pt x="0" y="260"/>
                  </a:moveTo>
                  <a:cubicBezTo>
                    <a:pt x="0" y="404"/>
                    <a:pt x="117" y="520"/>
                    <a:pt x="260" y="520"/>
                  </a:cubicBezTo>
                  <a:cubicBezTo>
                    <a:pt x="320" y="520"/>
                    <a:pt x="376" y="500"/>
                    <a:pt x="420" y="466"/>
                  </a:cubicBezTo>
                  <a:cubicBezTo>
                    <a:pt x="420" y="466"/>
                    <a:pt x="420" y="466"/>
                    <a:pt x="420" y="466"/>
                  </a:cubicBezTo>
                  <a:cubicBezTo>
                    <a:pt x="422" y="464"/>
                    <a:pt x="424" y="462"/>
                    <a:pt x="426" y="461"/>
                  </a:cubicBezTo>
                  <a:cubicBezTo>
                    <a:pt x="373" y="410"/>
                    <a:pt x="340" y="339"/>
                    <a:pt x="340" y="260"/>
                  </a:cubicBezTo>
                  <a:cubicBezTo>
                    <a:pt x="340" y="181"/>
                    <a:pt x="373" y="109"/>
                    <a:pt x="426" y="59"/>
                  </a:cubicBezTo>
                  <a:cubicBezTo>
                    <a:pt x="424" y="57"/>
                    <a:pt x="422" y="56"/>
                    <a:pt x="420" y="54"/>
                  </a:cubicBezTo>
                  <a:cubicBezTo>
                    <a:pt x="420" y="54"/>
                    <a:pt x="420" y="54"/>
                    <a:pt x="420" y="54"/>
                  </a:cubicBezTo>
                  <a:cubicBezTo>
                    <a:pt x="376" y="20"/>
                    <a:pt x="320" y="0"/>
                    <a:pt x="260" y="0"/>
                  </a:cubicBezTo>
                  <a:cubicBezTo>
                    <a:pt x="117" y="0"/>
                    <a:pt x="0" y="116"/>
                    <a:pt x="0" y="26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4400" dirty="0">
                <a:solidFill>
                  <a:srgbClr val="FFFFFF"/>
                </a:solidFill>
                <a:ea typeface="linea-basic-10" charset="0"/>
                <a:cs typeface="linea-basic-10" charset="0"/>
              </a:endParaRPr>
            </a:p>
          </p:txBody>
        </p:sp>
        <p:sp>
          <p:nvSpPr>
            <p:cNvPr id="10" name="Freeform 11">
              <a:extLst>
                <a:ext uri="{FF2B5EF4-FFF2-40B4-BE49-F238E27FC236}">
                  <a16:creationId xmlns:a16="http://schemas.microsoft.com/office/drawing/2014/main" id="{06D4DC19-F30F-3AC5-C9A8-330AFE82B60F}"/>
                </a:ext>
              </a:extLst>
            </p:cNvPr>
            <p:cNvSpPr>
              <a:spLocks/>
            </p:cNvSpPr>
            <p:nvPr/>
          </p:nvSpPr>
          <p:spPr bwMode="auto">
            <a:xfrm>
              <a:off x="5111933" y="3098592"/>
              <a:ext cx="307975" cy="987425"/>
            </a:xfrm>
            <a:custGeom>
              <a:avLst/>
              <a:gdLst>
                <a:gd name="T0" fmla="*/ 0 w 82"/>
                <a:gd name="T1" fmla="*/ 132 h 263"/>
                <a:gd name="T2" fmla="*/ 44 w 82"/>
                <a:gd name="T3" fmla="*/ 0 h 263"/>
                <a:gd name="T4" fmla="*/ 82 w 82"/>
                <a:gd name="T5" fmla="*/ 132 h 263"/>
                <a:gd name="T6" fmla="*/ 44 w 82"/>
                <a:gd name="T7" fmla="*/ 263 h 263"/>
                <a:gd name="T8" fmla="*/ 0 w 82"/>
                <a:gd name="T9" fmla="*/ 132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" h="263">
                  <a:moveTo>
                    <a:pt x="0" y="132"/>
                  </a:moveTo>
                  <a:cubicBezTo>
                    <a:pt x="0" y="82"/>
                    <a:pt x="17" y="37"/>
                    <a:pt x="44" y="0"/>
                  </a:cubicBezTo>
                  <a:cubicBezTo>
                    <a:pt x="68" y="36"/>
                    <a:pt x="82" y="82"/>
                    <a:pt x="82" y="132"/>
                  </a:cubicBezTo>
                  <a:cubicBezTo>
                    <a:pt x="82" y="182"/>
                    <a:pt x="68" y="228"/>
                    <a:pt x="44" y="263"/>
                  </a:cubicBezTo>
                  <a:cubicBezTo>
                    <a:pt x="17" y="227"/>
                    <a:pt x="0" y="181"/>
                    <a:pt x="0" y="132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dirty="0">
                  <a:solidFill>
                    <a:srgbClr val="FFFFFF"/>
                  </a:solidFill>
                </a:rPr>
                <a:t>4</a:t>
              </a: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2F6B2E3C-90E0-7373-8EB8-555156079C9F}"/>
              </a:ext>
            </a:extLst>
          </p:cNvPr>
          <p:cNvGrpSpPr/>
          <p:nvPr/>
        </p:nvGrpSpPr>
        <p:grpSpPr>
          <a:xfrm>
            <a:off x="5086755" y="4501788"/>
            <a:ext cx="1958975" cy="1668463"/>
            <a:chOff x="5084945" y="4236830"/>
            <a:chExt cx="1958975" cy="1668463"/>
          </a:xfrm>
        </p:grpSpPr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23DB11FF-A02C-554A-3DC4-7AE991380FEE}"/>
                </a:ext>
              </a:extLst>
            </p:cNvPr>
            <p:cNvSpPr>
              <a:spLocks/>
            </p:cNvSpPr>
            <p:nvPr/>
          </p:nvSpPr>
          <p:spPr bwMode="auto">
            <a:xfrm>
              <a:off x="5084945" y="4303505"/>
              <a:ext cx="1958975" cy="1601788"/>
            </a:xfrm>
            <a:custGeom>
              <a:avLst/>
              <a:gdLst>
                <a:gd name="T0" fmla="*/ 261 w 521"/>
                <a:gd name="T1" fmla="*/ 426 h 426"/>
                <a:gd name="T2" fmla="*/ 521 w 521"/>
                <a:gd name="T3" fmla="*/ 166 h 426"/>
                <a:gd name="T4" fmla="*/ 466 w 521"/>
                <a:gd name="T5" fmla="*/ 7 h 426"/>
                <a:gd name="T6" fmla="*/ 466 w 521"/>
                <a:gd name="T7" fmla="*/ 7 h 426"/>
                <a:gd name="T8" fmla="*/ 461 w 521"/>
                <a:gd name="T9" fmla="*/ 0 h 426"/>
                <a:gd name="T10" fmla="*/ 261 w 521"/>
                <a:gd name="T11" fmla="*/ 87 h 426"/>
                <a:gd name="T12" fmla="*/ 60 w 521"/>
                <a:gd name="T13" fmla="*/ 0 h 426"/>
                <a:gd name="T14" fmla="*/ 55 w 521"/>
                <a:gd name="T15" fmla="*/ 7 h 426"/>
                <a:gd name="T16" fmla="*/ 55 w 521"/>
                <a:gd name="T17" fmla="*/ 7 h 426"/>
                <a:gd name="T18" fmla="*/ 0 w 521"/>
                <a:gd name="T19" fmla="*/ 166 h 426"/>
                <a:gd name="T20" fmla="*/ 261 w 521"/>
                <a:gd name="T21" fmla="*/ 426 h 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21" h="426">
                  <a:moveTo>
                    <a:pt x="261" y="426"/>
                  </a:moveTo>
                  <a:cubicBezTo>
                    <a:pt x="404" y="426"/>
                    <a:pt x="521" y="310"/>
                    <a:pt x="521" y="166"/>
                  </a:cubicBezTo>
                  <a:cubicBezTo>
                    <a:pt x="521" y="106"/>
                    <a:pt x="500" y="51"/>
                    <a:pt x="466" y="7"/>
                  </a:cubicBezTo>
                  <a:cubicBezTo>
                    <a:pt x="466" y="7"/>
                    <a:pt x="466" y="7"/>
                    <a:pt x="466" y="7"/>
                  </a:cubicBezTo>
                  <a:cubicBezTo>
                    <a:pt x="465" y="5"/>
                    <a:pt x="463" y="2"/>
                    <a:pt x="461" y="0"/>
                  </a:cubicBezTo>
                  <a:cubicBezTo>
                    <a:pt x="411" y="53"/>
                    <a:pt x="340" y="87"/>
                    <a:pt x="261" y="87"/>
                  </a:cubicBezTo>
                  <a:cubicBezTo>
                    <a:pt x="181" y="87"/>
                    <a:pt x="110" y="53"/>
                    <a:pt x="60" y="0"/>
                  </a:cubicBezTo>
                  <a:cubicBezTo>
                    <a:pt x="58" y="2"/>
                    <a:pt x="56" y="5"/>
                    <a:pt x="55" y="7"/>
                  </a:cubicBezTo>
                  <a:cubicBezTo>
                    <a:pt x="55" y="7"/>
                    <a:pt x="55" y="7"/>
                    <a:pt x="55" y="7"/>
                  </a:cubicBezTo>
                  <a:cubicBezTo>
                    <a:pt x="21" y="51"/>
                    <a:pt x="0" y="106"/>
                    <a:pt x="0" y="166"/>
                  </a:cubicBezTo>
                  <a:cubicBezTo>
                    <a:pt x="0" y="310"/>
                    <a:pt x="117" y="426"/>
                    <a:pt x="261" y="426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4400" dirty="0">
                <a:solidFill>
                  <a:srgbClr val="FFFFFF"/>
                </a:solidFill>
                <a:ea typeface="linea-basic-10" charset="0"/>
                <a:cs typeface="linea-basic-10" charset="0"/>
              </a:endParaRPr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75B2A6E2-D173-F8DD-740A-4BF93A0C4243}"/>
                </a:ext>
              </a:extLst>
            </p:cNvPr>
            <p:cNvSpPr>
              <a:spLocks/>
            </p:cNvSpPr>
            <p:nvPr/>
          </p:nvSpPr>
          <p:spPr bwMode="auto">
            <a:xfrm>
              <a:off x="5569133" y="4236830"/>
              <a:ext cx="989013" cy="307975"/>
            </a:xfrm>
            <a:custGeom>
              <a:avLst/>
              <a:gdLst>
                <a:gd name="T0" fmla="*/ 132 w 263"/>
                <a:gd name="T1" fmla="*/ 82 h 82"/>
                <a:gd name="T2" fmla="*/ 0 w 263"/>
                <a:gd name="T3" fmla="*/ 38 h 82"/>
                <a:gd name="T4" fmla="*/ 132 w 263"/>
                <a:gd name="T5" fmla="*/ 0 h 82"/>
                <a:gd name="T6" fmla="*/ 263 w 263"/>
                <a:gd name="T7" fmla="*/ 38 h 82"/>
                <a:gd name="T8" fmla="*/ 132 w 263"/>
                <a:gd name="T9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3" h="82">
                  <a:moveTo>
                    <a:pt x="132" y="82"/>
                  </a:moveTo>
                  <a:cubicBezTo>
                    <a:pt x="82" y="82"/>
                    <a:pt x="37" y="66"/>
                    <a:pt x="0" y="38"/>
                  </a:cubicBezTo>
                  <a:cubicBezTo>
                    <a:pt x="35" y="14"/>
                    <a:pt x="81" y="0"/>
                    <a:pt x="132" y="0"/>
                  </a:cubicBezTo>
                  <a:cubicBezTo>
                    <a:pt x="182" y="0"/>
                    <a:pt x="228" y="14"/>
                    <a:pt x="263" y="38"/>
                  </a:cubicBezTo>
                  <a:cubicBezTo>
                    <a:pt x="226" y="66"/>
                    <a:pt x="181" y="82"/>
                    <a:pt x="132" y="82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dirty="0">
                  <a:solidFill>
                    <a:srgbClr val="FFFFFF"/>
                  </a:solidFill>
                </a:rPr>
                <a:t>3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6A475D73-10F4-0A51-CEE6-54C20805AE39}"/>
              </a:ext>
            </a:extLst>
          </p:cNvPr>
          <p:cNvGrpSpPr/>
          <p:nvPr/>
        </p:nvGrpSpPr>
        <p:grpSpPr>
          <a:xfrm>
            <a:off x="6710768" y="2882538"/>
            <a:ext cx="1668463" cy="1954213"/>
            <a:chOff x="6708958" y="2617580"/>
            <a:chExt cx="1668463" cy="1954213"/>
          </a:xfrm>
        </p:grpSpPr>
        <p:sp>
          <p:nvSpPr>
            <p:cNvPr id="15" name="Freeform 9">
              <a:extLst>
                <a:ext uri="{FF2B5EF4-FFF2-40B4-BE49-F238E27FC236}">
                  <a16:creationId xmlns:a16="http://schemas.microsoft.com/office/drawing/2014/main" id="{7241DEBE-C5FA-C146-8B66-3E1F1FE2F166}"/>
                </a:ext>
              </a:extLst>
            </p:cNvPr>
            <p:cNvSpPr>
              <a:spLocks/>
            </p:cNvSpPr>
            <p:nvPr/>
          </p:nvSpPr>
          <p:spPr bwMode="auto">
            <a:xfrm>
              <a:off x="6775633" y="2617580"/>
              <a:ext cx="1601788" cy="1954213"/>
            </a:xfrm>
            <a:custGeom>
              <a:avLst/>
              <a:gdLst>
                <a:gd name="T0" fmla="*/ 426 w 426"/>
                <a:gd name="T1" fmla="*/ 260 h 520"/>
                <a:gd name="T2" fmla="*/ 166 w 426"/>
                <a:gd name="T3" fmla="*/ 0 h 520"/>
                <a:gd name="T4" fmla="*/ 7 w 426"/>
                <a:gd name="T5" fmla="*/ 54 h 520"/>
                <a:gd name="T6" fmla="*/ 6 w 426"/>
                <a:gd name="T7" fmla="*/ 54 h 520"/>
                <a:gd name="T8" fmla="*/ 0 w 426"/>
                <a:gd name="T9" fmla="*/ 59 h 520"/>
                <a:gd name="T10" fmla="*/ 86 w 426"/>
                <a:gd name="T11" fmla="*/ 260 h 520"/>
                <a:gd name="T12" fmla="*/ 0 w 426"/>
                <a:gd name="T13" fmla="*/ 461 h 520"/>
                <a:gd name="T14" fmla="*/ 6 w 426"/>
                <a:gd name="T15" fmla="*/ 466 h 520"/>
                <a:gd name="T16" fmla="*/ 6 w 426"/>
                <a:gd name="T17" fmla="*/ 466 h 520"/>
                <a:gd name="T18" fmla="*/ 166 w 426"/>
                <a:gd name="T19" fmla="*/ 520 h 520"/>
                <a:gd name="T20" fmla="*/ 426 w 426"/>
                <a:gd name="T21" fmla="*/ 260 h 5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26" h="520">
                  <a:moveTo>
                    <a:pt x="426" y="260"/>
                  </a:moveTo>
                  <a:cubicBezTo>
                    <a:pt x="426" y="116"/>
                    <a:pt x="309" y="0"/>
                    <a:pt x="166" y="0"/>
                  </a:cubicBezTo>
                  <a:cubicBezTo>
                    <a:pt x="106" y="0"/>
                    <a:pt x="51" y="20"/>
                    <a:pt x="7" y="54"/>
                  </a:cubicBezTo>
                  <a:cubicBezTo>
                    <a:pt x="6" y="54"/>
                    <a:pt x="6" y="54"/>
                    <a:pt x="6" y="54"/>
                  </a:cubicBezTo>
                  <a:cubicBezTo>
                    <a:pt x="4" y="56"/>
                    <a:pt x="2" y="57"/>
                    <a:pt x="0" y="59"/>
                  </a:cubicBezTo>
                  <a:cubicBezTo>
                    <a:pt x="53" y="109"/>
                    <a:pt x="86" y="181"/>
                    <a:pt x="86" y="260"/>
                  </a:cubicBezTo>
                  <a:cubicBezTo>
                    <a:pt x="86" y="339"/>
                    <a:pt x="53" y="410"/>
                    <a:pt x="0" y="461"/>
                  </a:cubicBezTo>
                  <a:cubicBezTo>
                    <a:pt x="2" y="462"/>
                    <a:pt x="4" y="464"/>
                    <a:pt x="6" y="466"/>
                  </a:cubicBezTo>
                  <a:cubicBezTo>
                    <a:pt x="6" y="466"/>
                    <a:pt x="6" y="466"/>
                    <a:pt x="6" y="466"/>
                  </a:cubicBezTo>
                  <a:cubicBezTo>
                    <a:pt x="50" y="500"/>
                    <a:pt x="106" y="520"/>
                    <a:pt x="166" y="520"/>
                  </a:cubicBezTo>
                  <a:cubicBezTo>
                    <a:pt x="309" y="520"/>
                    <a:pt x="426" y="404"/>
                    <a:pt x="426" y="26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4400" dirty="0">
                <a:solidFill>
                  <a:srgbClr val="FFFFFF"/>
                </a:solidFill>
                <a:ea typeface="linea-basic-10" charset="0"/>
                <a:cs typeface="linea-basic-10" charset="0"/>
              </a:endParaRPr>
            </a:p>
          </p:txBody>
        </p:sp>
        <p:sp>
          <p:nvSpPr>
            <p:cNvPr id="16" name="Freeform 13">
              <a:extLst>
                <a:ext uri="{FF2B5EF4-FFF2-40B4-BE49-F238E27FC236}">
                  <a16:creationId xmlns:a16="http://schemas.microsoft.com/office/drawing/2014/main" id="{66AA18C2-F90B-C7C7-4479-528A285AE52B}"/>
                </a:ext>
              </a:extLst>
            </p:cNvPr>
            <p:cNvSpPr>
              <a:spLocks/>
            </p:cNvSpPr>
            <p:nvPr/>
          </p:nvSpPr>
          <p:spPr bwMode="auto">
            <a:xfrm>
              <a:off x="6708958" y="3098592"/>
              <a:ext cx="307975" cy="987425"/>
            </a:xfrm>
            <a:custGeom>
              <a:avLst/>
              <a:gdLst>
                <a:gd name="T0" fmla="*/ 82 w 82"/>
                <a:gd name="T1" fmla="*/ 132 h 263"/>
                <a:gd name="T2" fmla="*/ 38 w 82"/>
                <a:gd name="T3" fmla="*/ 263 h 263"/>
                <a:gd name="T4" fmla="*/ 0 w 82"/>
                <a:gd name="T5" fmla="*/ 132 h 263"/>
                <a:gd name="T6" fmla="*/ 38 w 82"/>
                <a:gd name="T7" fmla="*/ 0 h 263"/>
                <a:gd name="T8" fmla="*/ 82 w 82"/>
                <a:gd name="T9" fmla="*/ 132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" h="263">
                  <a:moveTo>
                    <a:pt x="82" y="132"/>
                  </a:moveTo>
                  <a:cubicBezTo>
                    <a:pt x="82" y="181"/>
                    <a:pt x="65" y="227"/>
                    <a:pt x="38" y="263"/>
                  </a:cubicBezTo>
                  <a:cubicBezTo>
                    <a:pt x="14" y="228"/>
                    <a:pt x="0" y="182"/>
                    <a:pt x="0" y="132"/>
                  </a:cubicBezTo>
                  <a:cubicBezTo>
                    <a:pt x="0" y="82"/>
                    <a:pt x="14" y="36"/>
                    <a:pt x="38" y="0"/>
                  </a:cubicBezTo>
                  <a:cubicBezTo>
                    <a:pt x="65" y="37"/>
                    <a:pt x="82" y="82"/>
                    <a:pt x="82" y="132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dirty="0">
                  <a:solidFill>
                    <a:srgbClr val="FFFFFF"/>
                  </a:solidFill>
                </a:rPr>
                <a:t>2</a:t>
              </a: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B166B79B-D34A-840A-D5DA-C5C7C4AC13FE}"/>
              </a:ext>
            </a:extLst>
          </p:cNvPr>
          <p:cNvGrpSpPr/>
          <p:nvPr/>
        </p:nvGrpSpPr>
        <p:grpSpPr>
          <a:xfrm>
            <a:off x="5657457" y="1811718"/>
            <a:ext cx="815190" cy="815188"/>
            <a:chOff x="8778719" y="853659"/>
            <a:chExt cx="1087631" cy="1087631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BB629B0D-8E1B-4943-3BDC-5BB1016DEAB3}"/>
                </a:ext>
              </a:extLst>
            </p:cNvPr>
            <p:cNvGrpSpPr/>
            <p:nvPr/>
          </p:nvGrpSpPr>
          <p:grpSpPr>
            <a:xfrm>
              <a:off x="8778719" y="853659"/>
              <a:ext cx="1087631" cy="1087631"/>
              <a:chOff x="912987" y="3985306"/>
              <a:chExt cx="1332461" cy="1332461"/>
            </a:xfrm>
          </p:grpSpPr>
          <p:sp>
            <p:nvSpPr>
              <p:cNvPr id="20" name="Oval 19">
                <a:extLst>
                  <a:ext uri="{FF2B5EF4-FFF2-40B4-BE49-F238E27FC236}">
                    <a16:creationId xmlns:a16="http://schemas.microsoft.com/office/drawing/2014/main" id="{4D8D6920-1E61-2E65-4886-6FDC98B977C3}"/>
                  </a:ext>
                </a:extLst>
              </p:cNvPr>
              <p:cNvSpPr/>
              <p:nvPr/>
            </p:nvSpPr>
            <p:spPr>
              <a:xfrm>
                <a:off x="912987" y="3985306"/>
                <a:ext cx="1332461" cy="1332461"/>
              </a:xfrm>
              <a:prstGeom prst="ellipse">
                <a:avLst/>
              </a:prstGeom>
              <a:solidFill>
                <a:schemeClr val="accent1">
                  <a:alpha val="2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876">
                  <a:solidFill>
                    <a:schemeClr val="bg1"/>
                  </a:solidFill>
                  <a:latin typeface="Montserrat Light" panose="00000400000000000000" pitchFamily="50" charset="0"/>
                </a:endParaRPr>
              </a:p>
            </p:txBody>
          </p:sp>
          <p:sp>
            <p:nvSpPr>
              <p:cNvPr id="21" name="Oval 20">
                <a:extLst>
                  <a:ext uri="{FF2B5EF4-FFF2-40B4-BE49-F238E27FC236}">
                    <a16:creationId xmlns:a16="http://schemas.microsoft.com/office/drawing/2014/main" id="{BD1683C0-F9B0-88CD-17EB-F2AE86C5C87B}"/>
                  </a:ext>
                </a:extLst>
              </p:cNvPr>
              <p:cNvSpPr/>
              <p:nvPr/>
            </p:nvSpPr>
            <p:spPr>
              <a:xfrm>
                <a:off x="1008481" y="4080800"/>
                <a:ext cx="1141474" cy="1141474"/>
              </a:xfrm>
              <a:prstGeom prst="ellipse">
                <a:avLst/>
              </a:prstGeom>
              <a:solidFill>
                <a:schemeClr val="accent1">
                  <a:alpha val="35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876">
                  <a:solidFill>
                    <a:schemeClr val="bg1"/>
                  </a:solidFill>
                  <a:latin typeface="Montserrat Light" panose="00000400000000000000" pitchFamily="50" charset="0"/>
                </a:endParaRPr>
              </a:p>
            </p:txBody>
          </p:sp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C4632340-61BA-806D-A344-824111CCA85A}"/>
                  </a:ext>
                </a:extLst>
              </p:cNvPr>
              <p:cNvSpPr/>
              <p:nvPr/>
            </p:nvSpPr>
            <p:spPr>
              <a:xfrm>
                <a:off x="1108900" y="4181219"/>
                <a:ext cx="940635" cy="940635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4500" dirty="0">
                  <a:solidFill>
                    <a:schemeClr val="bg1"/>
                  </a:solidFill>
                  <a:latin typeface="Montserrat SemiBold" panose="00000700000000000000" pitchFamily="2" charset="0"/>
                </a:endParaRPr>
              </a:p>
            </p:txBody>
          </p:sp>
        </p:grpSp>
        <p:sp>
          <p:nvSpPr>
            <p:cNvPr id="19" name="Freeform 20">
              <a:extLst>
                <a:ext uri="{FF2B5EF4-FFF2-40B4-BE49-F238E27FC236}">
                  <a16:creationId xmlns:a16="http://schemas.microsoft.com/office/drawing/2014/main" id="{7E1B1D08-B2CC-B8E5-D439-8D8CE38A8B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117174" y="1236976"/>
              <a:ext cx="379685" cy="336245"/>
            </a:xfrm>
            <a:custGeom>
              <a:avLst/>
              <a:gdLst>
                <a:gd name="T0" fmla="*/ 232 w 256"/>
                <a:gd name="T1" fmla="*/ 84 h 227"/>
                <a:gd name="T2" fmla="*/ 172 w 256"/>
                <a:gd name="T3" fmla="*/ 44 h 227"/>
                <a:gd name="T4" fmla="*/ 120 w 256"/>
                <a:gd name="T5" fmla="*/ 48 h 227"/>
                <a:gd name="T6" fmla="*/ 64 w 256"/>
                <a:gd name="T7" fmla="*/ 107 h 227"/>
                <a:gd name="T8" fmla="*/ 0 w 256"/>
                <a:gd name="T9" fmla="*/ 131 h 227"/>
                <a:gd name="T10" fmla="*/ 32 w 256"/>
                <a:gd name="T11" fmla="*/ 227 h 227"/>
                <a:gd name="T12" fmla="*/ 87 w 256"/>
                <a:gd name="T13" fmla="*/ 212 h 227"/>
                <a:gd name="T14" fmla="*/ 103 w 256"/>
                <a:gd name="T15" fmla="*/ 219 h 227"/>
                <a:gd name="T16" fmla="*/ 232 w 256"/>
                <a:gd name="T17" fmla="*/ 197 h 227"/>
                <a:gd name="T18" fmla="*/ 240 w 256"/>
                <a:gd name="T19" fmla="*/ 169 h 227"/>
                <a:gd name="T20" fmla="*/ 248 w 256"/>
                <a:gd name="T21" fmla="*/ 140 h 227"/>
                <a:gd name="T22" fmla="*/ 256 w 256"/>
                <a:gd name="T23" fmla="*/ 108 h 227"/>
                <a:gd name="T24" fmla="*/ 32 w 256"/>
                <a:gd name="T25" fmla="*/ 211 h 227"/>
                <a:gd name="T26" fmla="*/ 16 w 256"/>
                <a:gd name="T27" fmla="*/ 131 h 227"/>
                <a:gd name="T28" fmla="*/ 64 w 256"/>
                <a:gd name="T29" fmla="*/ 123 h 227"/>
                <a:gd name="T30" fmla="*/ 72 w 256"/>
                <a:gd name="T31" fmla="*/ 198 h 227"/>
                <a:gd name="T32" fmla="*/ 72 w 256"/>
                <a:gd name="T33" fmla="*/ 203 h 227"/>
                <a:gd name="T34" fmla="*/ 210 w 256"/>
                <a:gd name="T35" fmla="*/ 203 h 227"/>
                <a:gd name="T36" fmla="*/ 88 w 256"/>
                <a:gd name="T37" fmla="*/ 194 h 227"/>
                <a:gd name="T38" fmla="*/ 86 w 256"/>
                <a:gd name="T39" fmla="*/ 121 h 227"/>
                <a:gd name="T40" fmla="*/ 140 w 256"/>
                <a:gd name="T41" fmla="*/ 16 h 227"/>
                <a:gd name="T42" fmla="*/ 152 w 256"/>
                <a:gd name="T43" fmla="*/ 90 h 227"/>
                <a:gd name="T44" fmla="*/ 160 w 256"/>
                <a:gd name="T45" fmla="*/ 100 h 227"/>
                <a:gd name="T46" fmla="*/ 240 w 256"/>
                <a:gd name="T47" fmla="*/ 108 h 227"/>
                <a:gd name="T48" fmla="*/ 223 w 256"/>
                <a:gd name="T49" fmla="*/ 116 h 227"/>
                <a:gd name="T50" fmla="*/ 223 w 256"/>
                <a:gd name="T51" fmla="*/ 132 h 227"/>
                <a:gd name="T52" fmla="*/ 224 w 256"/>
                <a:gd name="T53" fmla="*/ 132 h 227"/>
                <a:gd name="T54" fmla="*/ 224 w 256"/>
                <a:gd name="T55" fmla="*/ 148 h 227"/>
                <a:gd name="T56" fmla="*/ 218 w 256"/>
                <a:gd name="T57" fmla="*/ 147 h 227"/>
                <a:gd name="T58" fmla="*/ 215 w 256"/>
                <a:gd name="T59" fmla="*/ 148 h 227"/>
                <a:gd name="T60" fmla="*/ 215 w 256"/>
                <a:gd name="T61" fmla="*/ 164 h 227"/>
                <a:gd name="T62" fmla="*/ 224 w 256"/>
                <a:gd name="T63" fmla="*/ 169 h 227"/>
                <a:gd name="T64" fmla="*/ 210 w 256"/>
                <a:gd name="T65" fmla="*/ 175 h 227"/>
                <a:gd name="T66" fmla="*/ 210 w 256"/>
                <a:gd name="T67" fmla="*/ 175 h 227"/>
                <a:gd name="T68" fmla="*/ 210 w 256"/>
                <a:gd name="T69" fmla="*/ 191 h 227"/>
                <a:gd name="T70" fmla="*/ 210 w 256"/>
                <a:gd name="T71" fmla="*/ 203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56" h="227">
                  <a:moveTo>
                    <a:pt x="256" y="108"/>
                  </a:moveTo>
                  <a:cubicBezTo>
                    <a:pt x="256" y="94"/>
                    <a:pt x="245" y="84"/>
                    <a:pt x="232" y="84"/>
                  </a:cubicBezTo>
                  <a:cubicBezTo>
                    <a:pt x="169" y="84"/>
                    <a:pt x="169" y="84"/>
                    <a:pt x="169" y="84"/>
                  </a:cubicBezTo>
                  <a:cubicBezTo>
                    <a:pt x="171" y="74"/>
                    <a:pt x="172" y="59"/>
                    <a:pt x="172" y="44"/>
                  </a:cubicBezTo>
                  <a:cubicBezTo>
                    <a:pt x="172" y="13"/>
                    <a:pt x="156" y="0"/>
                    <a:pt x="140" y="0"/>
                  </a:cubicBezTo>
                  <a:cubicBezTo>
                    <a:pt x="120" y="0"/>
                    <a:pt x="120" y="21"/>
                    <a:pt x="120" y="48"/>
                  </a:cubicBezTo>
                  <a:cubicBezTo>
                    <a:pt x="120" y="67"/>
                    <a:pt x="90" y="97"/>
                    <a:pt x="75" y="110"/>
                  </a:cubicBezTo>
                  <a:cubicBezTo>
                    <a:pt x="71" y="108"/>
                    <a:pt x="68" y="107"/>
                    <a:pt x="64" y="107"/>
                  </a:cubicBezTo>
                  <a:cubicBezTo>
                    <a:pt x="24" y="107"/>
                    <a:pt x="24" y="107"/>
                    <a:pt x="24" y="107"/>
                  </a:cubicBezTo>
                  <a:cubicBezTo>
                    <a:pt x="11" y="107"/>
                    <a:pt x="0" y="118"/>
                    <a:pt x="0" y="131"/>
                  </a:cubicBezTo>
                  <a:cubicBezTo>
                    <a:pt x="8" y="203"/>
                    <a:pt x="8" y="203"/>
                    <a:pt x="8" y="203"/>
                  </a:cubicBezTo>
                  <a:cubicBezTo>
                    <a:pt x="10" y="216"/>
                    <a:pt x="19" y="227"/>
                    <a:pt x="32" y="227"/>
                  </a:cubicBezTo>
                  <a:cubicBezTo>
                    <a:pt x="64" y="227"/>
                    <a:pt x="64" y="227"/>
                    <a:pt x="64" y="227"/>
                  </a:cubicBezTo>
                  <a:cubicBezTo>
                    <a:pt x="74" y="227"/>
                    <a:pt x="83" y="221"/>
                    <a:pt x="87" y="212"/>
                  </a:cubicBezTo>
                  <a:cubicBezTo>
                    <a:pt x="100" y="219"/>
                    <a:pt x="100" y="219"/>
                    <a:pt x="100" y="219"/>
                  </a:cubicBezTo>
                  <a:cubicBezTo>
                    <a:pt x="101" y="219"/>
                    <a:pt x="102" y="219"/>
                    <a:pt x="103" y="219"/>
                  </a:cubicBezTo>
                  <a:cubicBezTo>
                    <a:pt x="210" y="219"/>
                    <a:pt x="210" y="219"/>
                    <a:pt x="210" y="219"/>
                  </a:cubicBezTo>
                  <a:cubicBezTo>
                    <a:pt x="222" y="219"/>
                    <a:pt x="232" y="210"/>
                    <a:pt x="232" y="197"/>
                  </a:cubicBezTo>
                  <a:cubicBezTo>
                    <a:pt x="232" y="194"/>
                    <a:pt x="231" y="191"/>
                    <a:pt x="230" y="188"/>
                  </a:cubicBezTo>
                  <a:cubicBezTo>
                    <a:pt x="236" y="184"/>
                    <a:pt x="240" y="177"/>
                    <a:pt x="240" y="169"/>
                  </a:cubicBezTo>
                  <a:cubicBezTo>
                    <a:pt x="240" y="166"/>
                    <a:pt x="239" y="162"/>
                    <a:pt x="238" y="159"/>
                  </a:cubicBezTo>
                  <a:cubicBezTo>
                    <a:pt x="244" y="155"/>
                    <a:pt x="248" y="148"/>
                    <a:pt x="248" y="140"/>
                  </a:cubicBezTo>
                  <a:cubicBezTo>
                    <a:pt x="248" y="135"/>
                    <a:pt x="247" y="131"/>
                    <a:pt x="245" y="128"/>
                  </a:cubicBezTo>
                  <a:cubicBezTo>
                    <a:pt x="252" y="123"/>
                    <a:pt x="256" y="116"/>
                    <a:pt x="256" y="108"/>
                  </a:cubicBezTo>
                  <a:close/>
                  <a:moveTo>
                    <a:pt x="64" y="211"/>
                  </a:moveTo>
                  <a:cubicBezTo>
                    <a:pt x="32" y="211"/>
                    <a:pt x="32" y="211"/>
                    <a:pt x="32" y="211"/>
                  </a:cubicBezTo>
                  <a:cubicBezTo>
                    <a:pt x="28" y="211"/>
                    <a:pt x="25" y="206"/>
                    <a:pt x="24" y="202"/>
                  </a:cubicBezTo>
                  <a:cubicBezTo>
                    <a:pt x="16" y="131"/>
                    <a:pt x="16" y="131"/>
                    <a:pt x="16" y="131"/>
                  </a:cubicBezTo>
                  <a:cubicBezTo>
                    <a:pt x="17" y="127"/>
                    <a:pt x="20" y="123"/>
                    <a:pt x="24" y="123"/>
                  </a:cubicBezTo>
                  <a:cubicBezTo>
                    <a:pt x="64" y="123"/>
                    <a:pt x="64" y="123"/>
                    <a:pt x="64" y="123"/>
                  </a:cubicBezTo>
                  <a:cubicBezTo>
                    <a:pt x="69" y="123"/>
                    <a:pt x="72" y="127"/>
                    <a:pt x="72" y="131"/>
                  </a:cubicBezTo>
                  <a:cubicBezTo>
                    <a:pt x="72" y="198"/>
                    <a:pt x="72" y="198"/>
                    <a:pt x="72" y="198"/>
                  </a:cubicBezTo>
                  <a:cubicBezTo>
                    <a:pt x="72" y="199"/>
                    <a:pt x="72" y="200"/>
                    <a:pt x="72" y="201"/>
                  </a:cubicBezTo>
                  <a:cubicBezTo>
                    <a:pt x="72" y="203"/>
                    <a:pt x="72" y="203"/>
                    <a:pt x="72" y="203"/>
                  </a:cubicBezTo>
                  <a:cubicBezTo>
                    <a:pt x="72" y="208"/>
                    <a:pt x="69" y="211"/>
                    <a:pt x="64" y="211"/>
                  </a:cubicBezTo>
                  <a:close/>
                  <a:moveTo>
                    <a:pt x="210" y="203"/>
                  </a:moveTo>
                  <a:cubicBezTo>
                    <a:pt x="105" y="203"/>
                    <a:pt x="105" y="203"/>
                    <a:pt x="105" y="203"/>
                  </a:cubicBezTo>
                  <a:cubicBezTo>
                    <a:pt x="88" y="194"/>
                    <a:pt x="88" y="194"/>
                    <a:pt x="88" y="194"/>
                  </a:cubicBezTo>
                  <a:cubicBezTo>
                    <a:pt x="88" y="131"/>
                    <a:pt x="88" y="131"/>
                    <a:pt x="88" y="131"/>
                  </a:cubicBezTo>
                  <a:cubicBezTo>
                    <a:pt x="88" y="128"/>
                    <a:pt x="87" y="124"/>
                    <a:pt x="86" y="121"/>
                  </a:cubicBezTo>
                  <a:cubicBezTo>
                    <a:pt x="100" y="109"/>
                    <a:pt x="136" y="75"/>
                    <a:pt x="136" y="48"/>
                  </a:cubicBezTo>
                  <a:cubicBezTo>
                    <a:pt x="136" y="31"/>
                    <a:pt x="136" y="16"/>
                    <a:pt x="140" y="16"/>
                  </a:cubicBezTo>
                  <a:cubicBezTo>
                    <a:pt x="148" y="16"/>
                    <a:pt x="156" y="25"/>
                    <a:pt x="156" y="44"/>
                  </a:cubicBezTo>
                  <a:cubicBezTo>
                    <a:pt x="156" y="67"/>
                    <a:pt x="152" y="90"/>
                    <a:pt x="152" y="90"/>
                  </a:cubicBezTo>
                  <a:cubicBezTo>
                    <a:pt x="152" y="93"/>
                    <a:pt x="153" y="95"/>
                    <a:pt x="154" y="97"/>
                  </a:cubicBezTo>
                  <a:cubicBezTo>
                    <a:pt x="156" y="98"/>
                    <a:pt x="158" y="100"/>
                    <a:pt x="160" y="100"/>
                  </a:cubicBezTo>
                  <a:cubicBezTo>
                    <a:pt x="232" y="100"/>
                    <a:pt x="232" y="100"/>
                    <a:pt x="232" y="100"/>
                  </a:cubicBezTo>
                  <a:cubicBezTo>
                    <a:pt x="237" y="100"/>
                    <a:pt x="240" y="103"/>
                    <a:pt x="240" y="108"/>
                  </a:cubicBezTo>
                  <a:cubicBezTo>
                    <a:pt x="240" y="112"/>
                    <a:pt x="237" y="116"/>
                    <a:pt x="232" y="116"/>
                  </a:cubicBezTo>
                  <a:cubicBezTo>
                    <a:pt x="223" y="116"/>
                    <a:pt x="223" y="116"/>
                    <a:pt x="223" y="116"/>
                  </a:cubicBezTo>
                  <a:cubicBezTo>
                    <a:pt x="219" y="116"/>
                    <a:pt x="215" y="119"/>
                    <a:pt x="215" y="124"/>
                  </a:cubicBezTo>
                  <a:cubicBezTo>
                    <a:pt x="215" y="128"/>
                    <a:pt x="219" y="132"/>
                    <a:pt x="223" y="132"/>
                  </a:cubicBezTo>
                  <a:cubicBezTo>
                    <a:pt x="224" y="132"/>
                    <a:pt x="224" y="132"/>
                    <a:pt x="224" y="132"/>
                  </a:cubicBezTo>
                  <a:cubicBezTo>
                    <a:pt x="224" y="132"/>
                    <a:pt x="224" y="132"/>
                    <a:pt x="224" y="132"/>
                  </a:cubicBezTo>
                  <a:cubicBezTo>
                    <a:pt x="229" y="132"/>
                    <a:pt x="232" y="135"/>
                    <a:pt x="232" y="140"/>
                  </a:cubicBezTo>
                  <a:cubicBezTo>
                    <a:pt x="232" y="144"/>
                    <a:pt x="229" y="148"/>
                    <a:pt x="224" y="148"/>
                  </a:cubicBezTo>
                  <a:cubicBezTo>
                    <a:pt x="219" y="148"/>
                    <a:pt x="219" y="148"/>
                    <a:pt x="219" y="148"/>
                  </a:cubicBezTo>
                  <a:cubicBezTo>
                    <a:pt x="219" y="148"/>
                    <a:pt x="218" y="147"/>
                    <a:pt x="218" y="147"/>
                  </a:cubicBezTo>
                  <a:cubicBezTo>
                    <a:pt x="218" y="147"/>
                    <a:pt x="218" y="148"/>
                    <a:pt x="218" y="148"/>
                  </a:cubicBezTo>
                  <a:cubicBezTo>
                    <a:pt x="215" y="148"/>
                    <a:pt x="215" y="148"/>
                    <a:pt x="215" y="148"/>
                  </a:cubicBezTo>
                  <a:cubicBezTo>
                    <a:pt x="211" y="148"/>
                    <a:pt x="207" y="151"/>
                    <a:pt x="207" y="156"/>
                  </a:cubicBezTo>
                  <a:cubicBezTo>
                    <a:pt x="207" y="160"/>
                    <a:pt x="211" y="164"/>
                    <a:pt x="215" y="164"/>
                  </a:cubicBezTo>
                  <a:cubicBezTo>
                    <a:pt x="218" y="164"/>
                    <a:pt x="218" y="164"/>
                    <a:pt x="218" y="164"/>
                  </a:cubicBezTo>
                  <a:cubicBezTo>
                    <a:pt x="222" y="164"/>
                    <a:pt x="224" y="166"/>
                    <a:pt x="224" y="169"/>
                  </a:cubicBezTo>
                  <a:cubicBezTo>
                    <a:pt x="224" y="173"/>
                    <a:pt x="221" y="175"/>
                    <a:pt x="218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06" y="175"/>
                    <a:pt x="202" y="179"/>
                    <a:pt x="202" y="183"/>
                  </a:cubicBezTo>
                  <a:cubicBezTo>
                    <a:pt x="202" y="188"/>
                    <a:pt x="206" y="191"/>
                    <a:pt x="210" y="191"/>
                  </a:cubicBezTo>
                  <a:cubicBezTo>
                    <a:pt x="213" y="191"/>
                    <a:pt x="216" y="194"/>
                    <a:pt x="216" y="197"/>
                  </a:cubicBezTo>
                  <a:cubicBezTo>
                    <a:pt x="216" y="201"/>
                    <a:pt x="213" y="203"/>
                    <a:pt x="210" y="203"/>
                  </a:cubicBezTo>
                  <a:close/>
                </a:path>
              </a:pathLst>
            </a:custGeom>
            <a:noFill/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840">
                <a:solidFill>
                  <a:schemeClr val="tx2"/>
                </a:solidFill>
              </a:endParaRP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F207351A-2E52-CC85-A671-592015158DE7}"/>
              </a:ext>
            </a:extLst>
          </p:cNvPr>
          <p:cNvGrpSpPr/>
          <p:nvPr/>
        </p:nvGrpSpPr>
        <p:grpSpPr>
          <a:xfrm>
            <a:off x="7291392" y="3454916"/>
            <a:ext cx="815190" cy="815188"/>
            <a:chOff x="10844690" y="853659"/>
            <a:chExt cx="1087631" cy="1087631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956A4BBF-279F-B2D1-156D-CEE209AE88CE}"/>
                </a:ext>
              </a:extLst>
            </p:cNvPr>
            <p:cNvGrpSpPr/>
            <p:nvPr/>
          </p:nvGrpSpPr>
          <p:grpSpPr>
            <a:xfrm>
              <a:off x="10844690" y="853659"/>
              <a:ext cx="1087631" cy="1087631"/>
              <a:chOff x="912987" y="3985306"/>
              <a:chExt cx="1332461" cy="1332461"/>
            </a:xfrm>
          </p:grpSpPr>
          <p:sp>
            <p:nvSpPr>
              <p:cNvPr id="29" name="Oval 28">
                <a:extLst>
                  <a:ext uri="{FF2B5EF4-FFF2-40B4-BE49-F238E27FC236}">
                    <a16:creationId xmlns:a16="http://schemas.microsoft.com/office/drawing/2014/main" id="{EEB0F985-8EAC-E849-01F8-C14AA00D6912}"/>
                  </a:ext>
                </a:extLst>
              </p:cNvPr>
              <p:cNvSpPr/>
              <p:nvPr/>
            </p:nvSpPr>
            <p:spPr>
              <a:xfrm>
                <a:off x="912987" y="3985306"/>
                <a:ext cx="1332461" cy="1332461"/>
              </a:xfrm>
              <a:prstGeom prst="ellipse">
                <a:avLst/>
              </a:prstGeom>
              <a:solidFill>
                <a:schemeClr val="accent2">
                  <a:alpha val="2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876">
                  <a:solidFill>
                    <a:schemeClr val="bg1"/>
                  </a:solidFill>
                  <a:latin typeface="Montserrat Light" panose="00000400000000000000" pitchFamily="50" charset="0"/>
                </a:endParaRPr>
              </a:p>
            </p:txBody>
          </p:sp>
          <p:sp>
            <p:nvSpPr>
              <p:cNvPr id="30" name="Oval 29">
                <a:extLst>
                  <a:ext uri="{FF2B5EF4-FFF2-40B4-BE49-F238E27FC236}">
                    <a16:creationId xmlns:a16="http://schemas.microsoft.com/office/drawing/2014/main" id="{164FFC50-F135-7821-E124-765725CB8934}"/>
                  </a:ext>
                </a:extLst>
              </p:cNvPr>
              <p:cNvSpPr/>
              <p:nvPr/>
            </p:nvSpPr>
            <p:spPr>
              <a:xfrm>
                <a:off x="1008481" y="4080800"/>
                <a:ext cx="1141474" cy="1141474"/>
              </a:xfrm>
              <a:prstGeom prst="ellipse">
                <a:avLst/>
              </a:prstGeom>
              <a:solidFill>
                <a:schemeClr val="accent2">
                  <a:alpha val="35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876">
                  <a:solidFill>
                    <a:schemeClr val="bg1"/>
                  </a:solidFill>
                  <a:latin typeface="Montserrat Light" panose="00000400000000000000" pitchFamily="50" charset="0"/>
                </a:endParaRPr>
              </a:p>
            </p:txBody>
          </p:sp>
          <p:sp>
            <p:nvSpPr>
              <p:cNvPr id="31" name="Oval 30">
                <a:extLst>
                  <a:ext uri="{FF2B5EF4-FFF2-40B4-BE49-F238E27FC236}">
                    <a16:creationId xmlns:a16="http://schemas.microsoft.com/office/drawing/2014/main" id="{530ED79A-3A01-CCF9-7522-B8DD144FB4F8}"/>
                  </a:ext>
                </a:extLst>
              </p:cNvPr>
              <p:cNvSpPr/>
              <p:nvPr/>
            </p:nvSpPr>
            <p:spPr>
              <a:xfrm>
                <a:off x="1108900" y="4181219"/>
                <a:ext cx="940635" cy="940635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4500" dirty="0">
                  <a:solidFill>
                    <a:schemeClr val="bg1"/>
                  </a:solidFill>
                  <a:latin typeface="Montserrat SemiBold" panose="00000700000000000000" pitchFamily="2" charset="0"/>
                </a:endParaRPr>
              </a:p>
            </p:txBody>
          </p:sp>
        </p:grp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567105AD-074A-4C99-1FFD-FCBC31332EDC}"/>
                </a:ext>
              </a:extLst>
            </p:cNvPr>
            <p:cNvGrpSpPr>
              <a:grpSpLocks noChangeAspect="1"/>
            </p:cNvGrpSpPr>
            <p:nvPr/>
          </p:nvGrpSpPr>
          <p:grpSpPr>
            <a:xfrm rot="2700000">
              <a:off x="11254771" y="1189816"/>
              <a:ext cx="256428" cy="446746"/>
              <a:chOff x="4732338" y="4783138"/>
              <a:chExt cx="703263" cy="1225550"/>
            </a:xfrm>
            <a:solidFill>
              <a:schemeClr val="bg1"/>
            </a:solidFill>
          </p:grpSpPr>
          <p:sp>
            <p:nvSpPr>
              <p:cNvPr id="26" name="Freeform 27">
                <a:extLst>
                  <a:ext uri="{FF2B5EF4-FFF2-40B4-BE49-F238E27FC236}">
                    <a16:creationId xmlns:a16="http://schemas.microsoft.com/office/drawing/2014/main" id="{A22B16D4-3D56-C3C5-7383-45D78D99C17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32338" y="4783138"/>
                <a:ext cx="703263" cy="1173163"/>
              </a:xfrm>
              <a:custGeom>
                <a:avLst/>
                <a:gdLst>
                  <a:gd name="T0" fmla="*/ 50 w 184"/>
                  <a:gd name="T1" fmla="*/ 310 h 310"/>
                  <a:gd name="T2" fmla="*/ 32 w 184"/>
                  <a:gd name="T3" fmla="*/ 282 h 310"/>
                  <a:gd name="T4" fmla="*/ 10 w 184"/>
                  <a:gd name="T5" fmla="*/ 199 h 310"/>
                  <a:gd name="T6" fmla="*/ 39 w 184"/>
                  <a:gd name="T7" fmla="*/ 171 h 310"/>
                  <a:gd name="T8" fmla="*/ 30 w 184"/>
                  <a:gd name="T9" fmla="*/ 116 h 310"/>
                  <a:gd name="T10" fmla="*/ 36 w 184"/>
                  <a:gd name="T11" fmla="*/ 73 h 310"/>
                  <a:gd name="T12" fmla="*/ 36 w 184"/>
                  <a:gd name="T13" fmla="*/ 72 h 310"/>
                  <a:gd name="T14" fmla="*/ 92 w 184"/>
                  <a:gd name="T15" fmla="*/ 0 h 310"/>
                  <a:gd name="T16" fmla="*/ 148 w 184"/>
                  <a:gd name="T17" fmla="*/ 72 h 310"/>
                  <a:gd name="T18" fmla="*/ 148 w 184"/>
                  <a:gd name="T19" fmla="*/ 73 h 310"/>
                  <a:gd name="T20" fmla="*/ 155 w 184"/>
                  <a:gd name="T21" fmla="*/ 116 h 310"/>
                  <a:gd name="T22" fmla="*/ 145 w 184"/>
                  <a:gd name="T23" fmla="*/ 171 h 310"/>
                  <a:gd name="T24" fmla="*/ 174 w 184"/>
                  <a:gd name="T25" fmla="*/ 199 h 310"/>
                  <a:gd name="T26" fmla="*/ 153 w 184"/>
                  <a:gd name="T27" fmla="*/ 282 h 310"/>
                  <a:gd name="T28" fmla="*/ 134 w 184"/>
                  <a:gd name="T29" fmla="*/ 310 h 310"/>
                  <a:gd name="T30" fmla="*/ 134 w 184"/>
                  <a:gd name="T31" fmla="*/ 276 h 310"/>
                  <a:gd name="T32" fmla="*/ 118 w 184"/>
                  <a:gd name="T33" fmla="*/ 239 h 310"/>
                  <a:gd name="T34" fmla="*/ 118 w 184"/>
                  <a:gd name="T35" fmla="*/ 240 h 310"/>
                  <a:gd name="T36" fmla="*/ 115 w 184"/>
                  <a:gd name="T37" fmla="*/ 246 h 310"/>
                  <a:gd name="T38" fmla="*/ 108 w 184"/>
                  <a:gd name="T39" fmla="*/ 245 h 310"/>
                  <a:gd name="T40" fmla="*/ 76 w 184"/>
                  <a:gd name="T41" fmla="*/ 245 h 310"/>
                  <a:gd name="T42" fmla="*/ 69 w 184"/>
                  <a:gd name="T43" fmla="*/ 246 h 310"/>
                  <a:gd name="T44" fmla="*/ 66 w 184"/>
                  <a:gd name="T45" fmla="*/ 240 h 310"/>
                  <a:gd name="T46" fmla="*/ 66 w 184"/>
                  <a:gd name="T47" fmla="*/ 239 h 310"/>
                  <a:gd name="T48" fmla="*/ 50 w 184"/>
                  <a:gd name="T49" fmla="*/ 276 h 310"/>
                  <a:gd name="T50" fmla="*/ 50 w 184"/>
                  <a:gd name="T51" fmla="*/ 310 h 310"/>
                  <a:gd name="T52" fmla="*/ 55 w 184"/>
                  <a:gd name="T53" fmla="*/ 79 h 310"/>
                  <a:gd name="T54" fmla="*/ 50 w 184"/>
                  <a:gd name="T55" fmla="*/ 116 h 310"/>
                  <a:gd name="T56" fmla="*/ 61 w 184"/>
                  <a:gd name="T57" fmla="*/ 174 h 310"/>
                  <a:gd name="T58" fmla="*/ 64 w 184"/>
                  <a:gd name="T59" fmla="*/ 184 h 310"/>
                  <a:gd name="T60" fmla="*/ 54 w 184"/>
                  <a:gd name="T61" fmla="*/ 187 h 310"/>
                  <a:gd name="T62" fmla="*/ 29 w 184"/>
                  <a:gd name="T63" fmla="*/ 205 h 310"/>
                  <a:gd name="T64" fmla="*/ 36 w 184"/>
                  <a:gd name="T65" fmla="*/ 247 h 310"/>
                  <a:gd name="T66" fmla="*/ 65 w 184"/>
                  <a:gd name="T67" fmla="*/ 215 h 310"/>
                  <a:gd name="T68" fmla="*/ 74 w 184"/>
                  <a:gd name="T69" fmla="*/ 209 h 310"/>
                  <a:gd name="T70" fmla="*/ 79 w 184"/>
                  <a:gd name="T71" fmla="*/ 219 h 310"/>
                  <a:gd name="T72" fmla="*/ 82 w 184"/>
                  <a:gd name="T73" fmla="*/ 225 h 310"/>
                  <a:gd name="T74" fmla="*/ 103 w 184"/>
                  <a:gd name="T75" fmla="*/ 225 h 310"/>
                  <a:gd name="T76" fmla="*/ 105 w 184"/>
                  <a:gd name="T77" fmla="*/ 219 h 310"/>
                  <a:gd name="T78" fmla="*/ 110 w 184"/>
                  <a:gd name="T79" fmla="*/ 209 h 310"/>
                  <a:gd name="T80" fmla="*/ 120 w 184"/>
                  <a:gd name="T81" fmla="*/ 215 h 310"/>
                  <a:gd name="T82" fmla="*/ 148 w 184"/>
                  <a:gd name="T83" fmla="*/ 247 h 310"/>
                  <a:gd name="T84" fmla="*/ 155 w 184"/>
                  <a:gd name="T85" fmla="*/ 205 h 310"/>
                  <a:gd name="T86" fmla="*/ 130 w 184"/>
                  <a:gd name="T87" fmla="*/ 187 h 310"/>
                  <a:gd name="T88" fmla="*/ 120 w 184"/>
                  <a:gd name="T89" fmla="*/ 184 h 310"/>
                  <a:gd name="T90" fmla="*/ 123 w 184"/>
                  <a:gd name="T91" fmla="*/ 174 h 310"/>
                  <a:gd name="T92" fmla="*/ 135 w 184"/>
                  <a:gd name="T93" fmla="*/ 116 h 310"/>
                  <a:gd name="T94" fmla="*/ 129 w 184"/>
                  <a:gd name="T95" fmla="*/ 79 h 310"/>
                  <a:gd name="T96" fmla="*/ 92 w 184"/>
                  <a:gd name="T97" fmla="*/ 21 h 310"/>
                  <a:gd name="T98" fmla="*/ 55 w 184"/>
                  <a:gd name="T99" fmla="*/ 79 h 3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84" h="310">
                    <a:moveTo>
                      <a:pt x="50" y="310"/>
                    </a:moveTo>
                    <a:cubicBezTo>
                      <a:pt x="32" y="282"/>
                      <a:pt x="32" y="282"/>
                      <a:pt x="32" y="282"/>
                    </a:cubicBezTo>
                    <a:cubicBezTo>
                      <a:pt x="28" y="276"/>
                      <a:pt x="0" y="230"/>
                      <a:pt x="10" y="199"/>
                    </a:cubicBezTo>
                    <a:cubicBezTo>
                      <a:pt x="14" y="187"/>
                      <a:pt x="24" y="178"/>
                      <a:pt x="39" y="171"/>
                    </a:cubicBezTo>
                    <a:cubicBezTo>
                      <a:pt x="33" y="151"/>
                      <a:pt x="30" y="132"/>
                      <a:pt x="30" y="116"/>
                    </a:cubicBezTo>
                    <a:cubicBezTo>
                      <a:pt x="30" y="102"/>
                      <a:pt x="32" y="87"/>
                      <a:pt x="36" y="73"/>
                    </a:cubicBezTo>
                    <a:cubicBezTo>
                      <a:pt x="36" y="72"/>
                      <a:pt x="36" y="72"/>
                      <a:pt x="36" y="72"/>
                    </a:cubicBezTo>
                    <a:cubicBezTo>
                      <a:pt x="50" y="35"/>
                      <a:pt x="77" y="0"/>
                      <a:pt x="92" y="0"/>
                    </a:cubicBezTo>
                    <a:cubicBezTo>
                      <a:pt x="107" y="0"/>
                      <a:pt x="134" y="35"/>
                      <a:pt x="148" y="72"/>
                    </a:cubicBezTo>
                    <a:cubicBezTo>
                      <a:pt x="148" y="73"/>
                      <a:pt x="148" y="73"/>
                      <a:pt x="148" y="73"/>
                    </a:cubicBezTo>
                    <a:cubicBezTo>
                      <a:pt x="152" y="87"/>
                      <a:pt x="155" y="102"/>
                      <a:pt x="155" y="116"/>
                    </a:cubicBezTo>
                    <a:cubicBezTo>
                      <a:pt x="155" y="132"/>
                      <a:pt x="152" y="151"/>
                      <a:pt x="145" y="171"/>
                    </a:cubicBezTo>
                    <a:cubicBezTo>
                      <a:pt x="160" y="178"/>
                      <a:pt x="170" y="187"/>
                      <a:pt x="174" y="199"/>
                    </a:cubicBezTo>
                    <a:cubicBezTo>
                      <a:pt x="184" y="230"/>
                      <a:pt x="156" y="276"/>
                      <a:pt x="153" y="282"/>
                    </a:cubicBezTo>
                    <a:cubicBezTo>
                      <a:pt x="134" y="310"/>
                      <a:pt x="134" y="310"/>
                      <a:pt x="134" y="310"/>
                    </a:cubicBezTo>
                    <a:cubicBezTo>
                      <a:pt x="134" y="276"/>
                      <a:pt x="134" y="276"/>
                      <a:pt x="134" y="276"/>
                    </a:cubicBezTo>
                    <a:cubicBezTo>
                      <a:pt x="134" y="262"/>
                      <a:pt x="128" y="248"/>
                      <a:pt x="118" y="239"/>
                    </a:cubicBezTo>
                    <a:cubicBezTo>
                      <a:pt x="118" y="239"/>
                      <a:pt x="118" y="239"/>
                      <a:pt x="118" y="240"/>
                    </a:cubicBezTo>
                    <a:cubicBezTo>
                      <a:pt x="115" y="246"/>
                      <a:pt x="115" y="246"/>
                      <a:pt x="115" y="246"/>
                    </a:cubicBezTo>
                    <a:cubicBezTo>
                      <a:pt x="108" y="245"/>
                      <a:pt x="108" y="245"/>
                      <a:pt x="108" y="245"/>
                    </a:cubicBezTo>
                    <a:cubicBezTo>
                      <a:pt x="98" y="245"/>
                      <a:pt x="87" y="245"/>
                      <a:pt x="76" y="245"/>
                    </a:cubicBezTo>
                    <a:cubicBezTo>
                      <a:pt x="69" y="246"/>
                      <a:pt x="69" y="246"/>
                      <a:pt x="69" y="246"/>
                    </a:cubicBezTo>
                    <a:cubicBezTo>
                      <a:pt x="66" y="240"/>
                      <a:pt x="66" y="240"/>
                      <a:pt x="66" y="240"/>
                    </a:cubicBezTo>
                    <a:cubicBezTo>
                      <a:pt x="66" y="239"/>
                      <a:pt x="66" y="239"/>
                      <a:pt x="66" y="239"/>
                    </a:cubicBezTo>
                    <a:cubicBezTo>
                      <a:pt x="56" y="249"/>
                      <a:pt x="50" y="262"/>
                      <a:pt x="50" y="276"/>
                    </a:cubicBezTo>
                    <a:lnTo>
                      <a:pt x="50" y="310"/>
                    </a:lnTo>
                    <a:close/>
                    <a:moveTo>
                      <a:pt x="55" y="79"/>
                    </a:moveTo>
                    <a:cubicBezTo>
                      <a:pt x="52" y="91"/>
                      <a:pt x="50" y="104"/>
                      <a:pt x="50" y="116"/>
                    </a:cubicBezTo>
                    <a:cubicBezTo>
                      <a:pt x="50" y="132"/>
                      <a:pt x="53" y="152"/>
                      <a:pt x="61" y="174"/>
                    </a:cubicBezTo>
                    <a:cubicBezTo>
                      <a:pt x="64" y="184"/>
                      <a:pt x="64" y="184"/>
                      <a:pt x="64" y="184"/>
                    </a:cubicBezTo>
                    <a:cubicBezTo>
                      <a:pt x="54" y="187"/>
                      <a:pt x="54" y="187"/>
                      <a:pt x="54" y="187"/>
                    </a:cubicBezTo>
                    <a:cubicBezTo>
                      <a:pt x="45" y="190"/>
                      <a:pt x="33" y="196"/>
                      <a:pt x="29" y="205"/>
                    </a:cubicBezTo>
                    <a:cubicBezTo>
                      <a:pt x="26" y="216"/>
                      <a:pt x="30" y="233"/>
                      <a:pt x="36" y="247"/>
                    </a:cubicBezTo>
                    <a:cubicBezTo>
                      <a:pt x="42" y="234"/>
                      <a:pt x="52" y="223"/>
                      <a:pt x="65" y="215"/>
                    </a:cubicBezTo>
                    <a:cubicBezTo>
                      <a:pt x="74" y="209"/>
                      <a:pt x="74" y="209"/>
                      <a:pt x="74" y="209"/>
                    </a:cubicBezTo>
                    <a:cubicBezTo>
                      <a:pt x="79" y="219"/>
                      <a:pt x="79" y="219"/>
                      <a:pt x="79" y="219"/>
                    </a:cubicBezTo>
                    <a:cubicBezTo>
                      <a:pt x="80" y="221"/>
                      <a:pt x="81" y="223"/>
                      <a:pt x="82" y="225"/>
                    </a:cubicBezTo>
                    <a:cubicBezTo>
                      <a:pt x="89" y="225"/>
                      <a:pt x="96" y="225"/>
                      <a:pt x="103" y="225"/>
                    </a:cubicBezTo>
                    <a:cubicBezTo>
                      <a:pt x="104" y="223"/>
                      <a:pt x="105" y="221"/>
                      <a:pt x="105" y="219"/>
                    </a:cubicBezTo>
                    <a:cubicBezTo>
                      <a:pt x="110" y="209"/>
                      <a:pt x="110" y="209"/>
                      <a:pt x="110" y="209"/>
                    </a:cubicBezTo>
                    <a:cubicBezTo>
                      <a:pt x="120" y="215"/>
                      <a:pt x="120" y="215"/>
                      <a:pt x="120" y="215"/>
                    </a:cubicBezTo>
                    <a:cubicBezTo>
                      <a:pt x="133" y="223"/>
                      <a:pt x="142" y="234"/>
                      <a:pt x="148" y="247"/>
                    </a:cubicBezTo>
                    <a:cubicBezTo>
                      <a:pt x="154" y="233"/>
                      <a:pt x="159" y="216"/>
                      <a:pt x="155" y="205"/>
                    </a:cubicBezTo>
                    <a:cubicBezTo>
                      <a:pt x="152" y="196"/>
                      <a:pt x="140" y="190"/>
                      <a:pt x="130" y="187"/>
                    </a:cubicBezTo>
                    <a:cubicBezTo>
                      <a:pt x="120" y="184"/>
                      <a:pt x="120" y="184"/>
                      <a:pt x="120" y="184"/>
                    </a:cubicBezTo>
                    <a:cubicBezTo>
                      <a:pt x="123" y="174"/>
                      <a:pt x="123" y="174"/>
                      <a:pt x="123" y="174"/>
                    </a:cubicBezTo>
                    <a:cubicBezTo>
                      <a:pt x="131" y="152"/>
                      <a:pt x="135" y="132"/>
                      <a:pt x="135" y="116"/>
                    </a:cubicBezTo>
                    <a:cubicBezTo>
                      <a:pt x="135" y="104"/>
                      <a:pt x="133" y="91"/>
                      <a:pt x="129" y="79"/>
                    </a:cubicBezTo>
                    <a:cubicBezTo>
                      <a:pt x="117" y="47"/>
                      <a:pt x="99" y="26"/>
                      <a:pt x="92" y="21"/>
                    </a:cubicBezTo>
                    <a:cubicBezTo>
                      <a:pt x="85" y="26"/>
                      <a:pt x="67" y="47"/>
                      <a:pt x="55" y="79"/>
                    </a:cubicBezTo>
                    <a:close/>
                  </a:path>
                </a:pathLst>
              </a:cu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dirty="0">
                  <a:solidFill>
                    <a:schemeClr val="tx2"/>
                  </a:solidFill>
                  <a:latin typeface="Lato Light"/>
                </a:endParaRPr>
              </a:p>
            </p:txBody>
          </p:sp>
          <p:sp>
            <p:nvSpPr>
              <p:cNvPr id="27" name="Freeform 28">
                <a:extLst>
                  <a:ext uri="{FF2B5EF4-FFF2-40B4-BE49-F238E27FC236}">
                    <a16:creationId xmlns:a16="http://schemas.microsoft.com/office/drawing/2014/main" id="{7FB3B584-2C1D-F266-A294-E761F5634C6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60938" y="5127626"/>
                <a:ext cx="244475" cy="241300"/>
              </a:xfrm>
              <a:custGeom>
                <a:avLst/>
                <a:gdLst>
                  <a:gd name="T0" fmla="*/ 32 w 64"/>
                  <a:gd name="T1" fmla="*/ 64 h 64"/>
                  <a:gd name="T2" fmla="*/ 0 w 64"/>
                  <a:gd name="T3" fmla="*/ 32 h 64"/>
                  <a:gd name="T4" fmla="*/ 32 w 64"/>
                  <a:gd name="T5" fmla="*/ 0 h 64"/>
                  <a:gd name="T6" fmla="*/ 64 w 64"/>
                  <a:gd name="T7" fmla="*/ 32 h 64"/>
                  <a:gd name="T8" fmla="*/ 32 w 64"/>
                  <a:gd name="T9" fmla="*/ 64 h 64"/>
                  <a:gd name="T10" fmla="*/ 32 w 64"/>
                  <a:gd name="T11" fmla="*/ 12 h 64"/>
                  <a:gd name="T12" fmla="*/ 12 w 64"/>
                  <a:gd name="T13" fmla="*/ 32 h 64"/>
                  <a:gd name="T14" fmla="*/ 32 w 64"/>
                  <a:gd name="T15" fmla="*/ 52 h 64"/>
                  <a:gd name="T16" fmla="*/ 52 w 64"/>
                  <a:gd name="T17" fmla="*/ 32 h 64"/>
                  <a:gd name="T18" fmla="*/ 32 w 64"/>
                  <a:gd name="T19" fmla="*/ 12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4" h="64">
                    <a:moveTo>
                      <a:pt x="32" y="64"/>
                    </a:moveTo>
                    <a:cubicBezTo>
                      <a:pt x="14" y="64"/>
                      <a:pt x="0" y="50"/>
                      <a:pt x="0" y="32"/>
                    </a:cubicBezTo>
                    <a:cubicBezTo>
                      <a:pt x="0" y="14"/>
                      <a:pt x="14" y="0"/>
                      <a:pt x="32" y="0"/>
                    </a:cubicBezTo>
                    <a:cubicBezTo>
                      <a:pt x="50" y="0"/>
                      <a:pt x="64" y="14"/>
                      <a:pt x="64" y="32"/>
                    </a:cubicBezTo>
                    <a:cubicBezTo>
                      <a:pt x="64" y="50"/>
                      <a:pt x="50" y="64"/>
                      <a:pt x="32" y="64"/>
                    </a:cubicBezTo>
                    <a:close/>
                    <a:moveTo>
                      <a:pt x="32" y="12"/>
                    </a:moveTo>
                    <a:cubicBezTo>
                      <a:pt x="21" y="12"/>
                      <a:pt x="12" y="21"/>
                      <a:pt x="12" y="32"/>
                    </a:cubicBezTo>
                    <a:cubicBezTo>
                      <a:pt x="12" y="43"/>
                      <a:pt x="21" y="52"/>
                      <a:pt x="32" y="52"/>
                    </a:cubicBezTo>
                    <a:cubicBezTo>
                      <a:pt x="43" y="52"/>
                      <a:pt x="52" y="43"/>
                      <a:pt x="52" y="32"/>
                    </a:cubicBezTo>
                    <a:cubicBezTo>
                      <a:pt x="52" y="21"/>
                      <a:pt x="43" y="12"/>
                      <a:pt x="32" y="12"/>
                    </a:cubicBezTo>
                    <a:close/>
                  </a:path>
                </a:pathLst>
              </a:cu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dirty="0">
                  <a:solidFill>
                    <a:schemeClr val="tx2"/>
                  </a:solidFill>
                  <a:latin typeface="Lato Light"/>
                </a:endParaRPr>
              </a:p>
            </p:txBody>
          </p:sp>
          <p:sp>
            <p:nvSpPr>
              <p:cNvPr id="28" name="Freeform 29">
                <a:extLst>
                  <a:ext uri="{FF2B5EF4-FFF2-40B4-BE49-F238E27FC236}">
                    <a16:creationId xmlns:a16="http://schemas.microsoft.com/office/drawing/2014/main" id="{C13C1456-8417-2A00-D486-0EC83D36A5E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73638" y="5649913"/>
                <a:ext cx="225425" cy="358775"/>
              </a:xfrm>
              <a:custGeom>
                <a:avLst/>
                <a:gdLst>
                  <a:gd name="T0" fmla="*/ 29 w 59"/>
                  <a:gd name="T1" fmla="*/ 95 h 95"/>
                  <a:gd name="T2" fmla="*/ 24 w 59"/>
                  <a:gd name="T3" fmla="*/ 85 h 95"/>
                  <a:gd name="T4" fmla="*/ 0 w 59"/>
                  <a:gd name="T5" fmla="*/ 26 h 95"/>
                  <a:gd name="T6" fmla="*/ 29 w 59"/>
                  <a:gd name="T7" fmla="*/ 0 h 95"/>
                  <a:gd name="T8" fmla="*/ 59 w 59"/>
                  <a:gd name="T9" fmla="*/ 26 h 95"/>
                  <a:gd name="T10" fmla="*/ 34 w 59"/>
                  <a:gd name="T11" fmla="*/ 85 h 95"/>
                  <a:gd name="T12" fmla="*/ 29 w 59"/>
                  <a:gd name="T13" fmla="*/ 95 h 95"/>
                  <a:gd name="T14" fmla="*/ 29 w 59"/>
                  <a:gd name="T15" fmla="*/ 12 h 95"/>
                  <a:gd name="T16" fmla="*/ 12 w 59"/>
                  <a:gd name="T17" fmla="*/ 26 h 95"/>
                  <a:gd name="T18" fmla="*/ 29 w 59"/>
                  <a:gd name="T19" fmla="*/ 69 h 95"/>
                  <a:gd name="T20" fmla="*/ 47 w 59"/>
                  <a:gd name="T21" fmla="*/ 26 h 95"/>
                  <a:gd name="T22" fmla="*/ 29 w 59"/>
                  <a:gd name="T23" fmla="*/ 12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9" h="95">
                    <a:moveTo>
                      <a:pt x="29" y="95"/>
                    </a:moveTo>
                    <a:cubicBezTo>
                      <a:pt x="24" y="85"/>
                      <a:pt x="24" y="85"/>
                      <a:pt x="24" y="85"/>
                    </a:cubicBezTo>
                    <a:cubicBezTo>
                      <a:pt x="20" y="77"/>
                      <a:pt x="0" y="38"/>
                      <a:pt x="0" y="26"/>
                    </a:cubicBezTo>
                    <a:cubicBezTo>
                      <a:pt x="0" y="12"/>
                      <a:pt x="13" y="0"/>
                      <a:pt x="29" y="0"/>
                    </a:cubicBezTo>
                    <a:cubicBezTo>
                      <a:pt x="45" y="0"/>
                      <a:pt x="59" y="12"/>
                      <a:pt x="59" y="26"/>
                    </a:cubicBezTo>
                    <a:cubicBezTo>
                      <a:pt x="59" y="38"/>
                      <a:pt x="39" y="77"/>
                      <a:pt x="34" y="85"/>
                    </a:cubicBezTo>
                    <a:lnTo>
                      <a:pt x="29" y="95"/>
                    </a:lnTo>
                    <a:close/>
                    <a:moveTo>
                      <a:pt x="29" y="12"/>
                    </a:moveTo>
                    <a:cubicBezTo>
                      <a:pt x="19" y="12"/>
                      <a:pt x="12" y="18"/>
                      <a:pt x="12" y="26"/>
                    </a:cubicBezTo>
                    <a:cubicBezTo>
                      <a:pt x="12" y="31"/>
                      <a:pt x="20" y="50"/>
                      <a:pt x="29" y="69"/>
                    </a:cubicBezTo>
                    <a:cubicBezTo>
                      <a:pt x="38" y="50"/>
                      <a:pt x="47" y="31"/>
                      <a:pt x="47" y="26"/>
                    </a:cubicBezTo>
                    <a:cubicBezTo>
                      <a:pt x="47" y="18"/>
                      <a:pt x="39" y="12"/>
                      <a:pt x="29" y="12"/>
                    </a:cubicBezTo>
                    <a:close/>
                  </a:path>
                </a:pathLst>
              </a:cu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dirty="0">
                  <a:solidFill>
                    <a:schemeClr val="tx2"/>
                  </a:solidFill>
                  <a:latin typeface="Lato Light"/>
                </a:endParaRPr>
              </a:p>
            </p:txBody>
          </p:sp>
        </p:grp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03A0C54F-B3E6-53A8-1B74-11F4EF53587B}"/>
              </a:ext>
            </a:extLst>
          </p:cNvPr>
          <p:cNvGrpSpPr/>
          <p:nvPr/>
        </p:nvGrpSpPr>
        <p:grpSpPr>
          <a:xfrm>
            <a:off x="3994154" y="3449668"/>
            <a:ext cx="815190" cy="815188"/>
            <a:chOff x="2580800" y="853659"/>
            <a:chExt cx="1087631" cy="1087631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E0603FBF-DF05-2A9E-C849-574202E9B3CD}"/>
                </a:ext>
              </a:extLst>
            </p:cNvPr>
            <p:cNvGrpSpPr/>
            <p:nvPr/>
          </p:nvGrpSpPr>
          <p:grpSpPr>
            <a:xfrm>
              <a:off x="2580800" y="853659"/>
              <a:ext cx="1087631" cy="1087631"/>
              <a:chOff x="912987" y="3985306"/>
              <a:chExt cx="1332461" cy="1332461"/>
            </a:xfrm>
          </p:grpSpPr>
          <p:sp>
            <p:nvSpPr>
              <p:cNvPr id="35" name="Oval 34">
                <a:extLst>
                  <a:ext uri="{FF2B5EF4-FFF2-40B4-BE49-F238E27FC236}">
                    <a16:creationId xmlns:a16="http://schemas.microsoft.com/office/drawing/2014/main" id="{3140E7E1-33E1-D5AF-5870-40EE08814E0E}"/>
                  </a:ext>
                </a:extLst>
              </p:cNvPr>
              <p:cNvSpPr/>
              <p:nvPr/>
            </p:nvSpPr>
            <p:spPr>
              <a:xfrm>
                <a:off x="912987" y="3985306"/>
                <a:ext cx="1332461" cy="1332461"/>
              </a:xfrm>
              <a:prstGeom prst="ellipse">
                <a:avLst/>
              </a:prstGeom>
              <a:solidFill>
                <a:schemeClr val="accent4">
                  <a:alpha val="2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876">
                  <a:solidFill>
                    <a:schemeClr val="bg1"/>
                  </a:solidFill>
                  <a:latin typeface="Montserrat Light" panose="00000400000000000000" pitchFamily="50" charset="0"/>
                </a:endParaRPr>
              </a:p>
            </p:txBody>
          </p:sp>
          <p:sp>
            <p:nvSpPr>
              <p:cNvPr id="36" name="Oval 35">
                <a:extLst>
                  <a:ext uri="{FF2B5EF4-FFF2-40B4-BE49-F238E27FC236}">
                    <a16:creationId xmlns:a16="http://schemas.microsoft.com/office/drawing/2014/main" id="{B4D358C8-5052-E4CC-244E-9322E4DB00F0}"/>
                  </a:ext>
                </a:extLst>
              </p:cNvPr>
              <p:cNvSpPr/>
              <p:nvPr/>
            </p:nvSpPr>
            <p:spPr>
              <a:xfrm>
                <a:off x="1008481" y="4080800"/>
                <a:ext cx="1141474" cy="1141474"/>
              </a:xfrm>
              <a:prstGeom prst="ellipse">
                <a:avLst/>
              </a:prstGeom>
              <a:solidFill>
                <a:schemeClr val="accent4">
                  <a:alpha val="35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876">
                  <a:solidFill>
                    <a:schemeClr val="bg1"/>
                  </a:solidFill>
                  <a:latin typeface="Montserrat Light" panose="00000400000000000000" pitchFamily="50" charset="0"/>
                </a:endParaRPr>
              </a:p>
            </p:txBody>
          </p:sp>
          <p:sp>
            <p:nvSpPr>
              <p:cNvPr id="37" name="Oval 36">
                <a:extLst>
                  <a:ext uri="{FF2B5EF4-FFF2-40B4-BE49-F238E27FC236}">
                    <a16:creationId xmlns:a16="http://schemas.microsoft.com/office/drawing/2014/main" id="{3571EF88-E843-231D-FA6F-6E23190CFACF}"/>
                  </a:ext>
                </a:extLst>
              </p:cNvPr>
              <p:cNvSpPr/>
              <p:nvPr/>
            </p:nvSpPr>
            <p:spPr>
              <a:xfrm>
                <a:off x="1108900" y="4181219"/>
                <a:ext cx="940635" cy="940635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4500" dirty="0">
                  <a:solidFill>
                    <a:schemeClr val="bg1"/>
                  </a:solidFill>
                  <a:latin typeface="Montserrat SemiBold" panose="00000700000000000000" pitchFamily="2" charset="0"/>
                </a:endParaRPr>
              </a:p>
            </p:txBody>
          </p:sp>
        </p:grpSp>
        <p:sp>
          <p:nvSpPr>
            <p:cNvPr id="34" name="Freeform 38">
              <a:extLst>
                <a:ext uri="{FF2B5EF4-FFF2-40B4-BE49-F238E27FC236}">
                  <a16:creationId xmlns:a16="http://schemas.microsoft.com/office/drawing/2014/main" id="{B34AFE7B-2BEF-5F04-AA55-ABCFA5BB09C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00875" y="1467846"/>
              <a:ext cx="36024" cy="37274"/>
            </a:xfrm>
            <a:custGeom>
              <a:avLst/>
              <a:gdLst>
                <a:gd name="T0" fmla="*/ 6 w 12"/>
                <a:gd name="T1" fmla="*/ 0 h 12"/>
                <a:gd name="T2" fmla="*/ 0 w 12"/>
                <a:gd name="T3" fmla="*/ 6 h 12"/>
                <a:gd name="T4" fmla="*/ 6 w 12"/>
                <a:gd name="T5" fmla="*/ 12 h 12"/>
                <a:gd name="T6" fmla="*/ 12 w 12"/>
                <a:gd name="T7" fmla="*/ 6 h 12"/>
                <a:gd name="T8" fmla="*/ 6 w 12"/>
                <a:gd name="T9" fmla="*/ 0 h 12"/>
                <a:gd name="T10" fmla="*/ 6 w 12"/>
                <a:gd name="T11" fmla="*/ 8 h 12"/>
                <a:gd name="T12" fmla="*/ 4 w 12"/>
                <a:gd name="T13" fmla="*/ 6 h 12"/>
                <a:gd name="T14" fmla="*/ 6 w 12"/>
                <a:gd name="T15" fmla="*/ 4 h 12"/>
                <a:gd name="T16" fmla="*/ 8 w 12"/>
                <a:gd name="T17" fmla="*/ 6 h 12"/>
                <a:gd name="T18" fmla="*/ 6 w 12"/>
                <a:gd name="T1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9" y="12"/>
                    <a:pt x="12" y="9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lose/>
                  <a:moveTo>
                    <a:pt x="6" y="8"/>
                  </a:moveTo>
                  <a:cubicBezTo>
                    <a:pt x="5" y="8"/>
                    <a:pt x="4" y="7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7" y="4"/>
                    <a:pt x="8" y="5"/>
                    <a:pt x="8" y="6"/>
                  </a:cubicBezTo>
                  <a:cubicBezTo>
                    <a:pt x="8" y="7"/>
                    <a:pt x="7" y="8"/>
                    <a:pt x="6" y="8"/>
                  </a:cubicBezTo>
                  <a:close/>
                </a:path>
              </a:pathLst>
            </a:cu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tx2"/>
                </a:solidFill>
                <a:latin typeface="Lato Light"/>
              </a:endParaRP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507356D5-2665-9D38-FF81-CAC69FE4D55C}"/>
              </a:ext>
            </a:extLst>
          </p:cNvPr>
          <p:cNvGrpSpPr/>
          <p:nvPr/>
        </p:nvGrpSpPr>
        <p:grpSpPr>
          <a:xfrm>
            <a:off x="5657457" y="5108693"/>
            <a:ext cx="815190" cy="815188"/>
            <a:chOff x="4646773" y="853659"/>
            <a:chExt cx="1087631" cy="1087631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6FDED1C6-B0B7-FB44-128F-0ADCB0D11422}"/>
                </a:ext>
              </a:extLst>
            </p:cNvPr>
            <p:cNvGrpSpPr/>
            <p:nvPr/>
          </p:nvGrpSpPr>
          <p:grpSpPr>
            <a:xfrm>
              <a:off x="4646773" y="853659"/>
              <a:ext cx="1087631" cy="1087631"/>
              <a:chOff x="912987" y="3985306"/>
              <a:chExt cx="1332461" cy="1332461"/>
            </a:xfrm>
          </p:grpSpPr>
          <p:sp>
            <p:nvSpPr>
              <p:cNvPr id="43" name="Oval 42">
                <a:extLst>
                  <a:ext uri="{FF2B5EF4-FFF2-40B4-BE49-F238E27FC236}">
                    <a16:creationId xmlns:a16="http://schemas.microsoft.com/office/drawing/2014/main" id="{F3803576-A10D-9A81-B989-A6740AA1C182}"/>
                  </a:ext>
                </a:extLst>
              </p:cNvPr>
              <p:cNvSpPr/>
              <p:nvPr/>
            </p:nvSpPr>
            <p:spPr>
              <a:xfrm>
                <a:off x="912987" y="3985306"/>
                <a:ext cx="1332461" cy="1332461"/>
              </a:xfrm>
              <a:prstGeom prst="ellipse">
                <a:avLst/>
              </a:prstGeom>
              <a:solidFill>
                <a:schemeClr val="accent3">
                  <a:alpha val="2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876">
                  <a:solidFill>
                    <a:schemeClr val="bg1"/>
                  </a:solidFill>
                  <a:latin typeface="Montserrat Light" panose="00000400000000000000" pitchFamily="50" charset="0"/>
                </a:endParaRPr>
              </a:p>
            </p:txBody>
          </p:sp>
          <p:sp>
            <p:nvSpPr>
              <p:cNvPr id="44" name="Oval 43">
                <a:extLst>
                  <a:ext uri="{FF2B5EF4-FFF2-40B4-BE49-F238E27FC236}">
                    <a16:creationId xmlns:a16="http://schemas.microsoft.com/office/drawing/2014/main" id="{7AEBD14F-89EF-9276-13E0-3EF0DE1D3562}"/>
                  </a:ext>
                </a:extLst>
              </p:cNvPr>
              <p:cNvSpPr/>
              <p:nvPr/>
            </p:nvSpPr>
            <p:spPr>
              <a:xfrm>
                <a:off x="1008481" y="4080800"/>
                <a:ext cx="1141474" cy="1141474"/>
              </a:xfrm>
              <a:prstGeom prst="ellipse">
                <a:avLst/>
              </a:prstGeom>
              <a:solidFill>
                <a:schemeClr val="accent3">
                  <a:alpha val="35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876">
                  <a:solidFill>
                    <a:schemeClr val="bg1"/>
                  </a:solidFill>
                  <a:latin typeface="Montserrat Light" panose="00000400000000000000" pitchFamily="50" charset="0"/>
                </a:endParaRPr>
              </a:p>
            </p:txBody>
          </p:sp>
          <p:sp>
            <p:nvSpPr>
              <p:cNvPr id="45" name="Oval 44">
                <a:extLst>
                  <a:ext uri="{FF2B5EF4-FFF2-40B4-BE49-F238E27FC236}">
                    <a16:creationId xmlns:a16="http://schemas.microsoft.com/office/drawing/2014/main" id="{E6765782-3532-C9B4-821A-9FA354B95857}"/>
                  </a:ext>
                </a:extLst>
              </p:cNvPr>
              <p:cNvSpPr/>
              <p:nvPr/>
            </p:nvSpPr>
            <p:spPr>
              <a:xfrm>
                <a:off x="1108900" y="4181219"/>
                <a:ext cx="940635" cy="940635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4500" dirty="0">
                  <a:solidFill>
                    <a:schemeClr val="bg1"/>
                  </a:solidFill>
                  <a:latin typeface="Montserrat SemiBold" panose="00000700000000000000" pitchFamily="2" charset="0"/>
                </a:endParaRPr>
              </a:p>
            </p:txBody>
          </p:sp>
        </p:grp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AFF91F3D-BE74-AD90-A282-7D11C8BA9F0E}"/>
                </a:ext>
              </a:extLst>
            </p:cNvPr>
            <p:cNvGrpSpPr/>
            <p:nvPr/>
          </p:nvGrpSpPr>
          <p:grpSpPr>
            <a:xfrm>
              <a:off x="5014006" y="1248788"/>
              <a:ext cx="360226" cy="312620"/>
              <a:chOff x="8783638" y="1235076"/>
              <a:chExt cx="360363" cy="312738"/>
            </a:xfrm>
            <a:solidFill>
              <a:schemeClr val="bg1"/>
            </a:solidFill>
          </p:grpSpPr>
          <p:sp>
            <p:nvSpPr>
              <p:cNvPr id="41" name="Freeform 51">
                <a:extLst>
                  <a:ext uri="{FF2B5EF4-FFF2-40B4-BE49-F238E27FC236}">
                    <a16:creationId xmlns:a16="http://schemas.microsoft.com/office/drawing/2014/main" id="{7C616AE6-4DF3-E744-20C5-7E882C2EB2A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842375" y="1290638"/>
                <a:ext cx="128588" cy="84138"/>
              </a:xfrm>
              <a:custGeom>
                <a:avLst/>
                <a:gdLst/>
                <a:ahLst/>
                <a:cxnLst>
                  <a:cxn ang="0">
                    <a:pos x="42" y="0"/>
                  </a:cxn>
                  <a:cxn ang="0">
                    <a:pos x="0" y="27"/>
                  </a:cxn>
                  <a:cxn ang="0">
                    <a:pos x="1" y="29"/>
                  </a:cxn>
                  <a:cxn ang="0">
                    <a:pos x="3" y="27"/>
                  </a:cxn>
                  <a:cxn ang="0">
                    <a:pos x="42" y="4"/>
                  </a:cxn>
                  <a:cxn ang="0">
                    <a:pos x="44" y="2"/>
                  </a:cxn>
                  <a:cxn ang="0">
                    <a:pos x="42" y="0"/>
                  </a:cxn>
                  <a:cxn ang="0">
                    <a:pos x="42" y="0"/>
                  </a:cxn>
                  <a:cxn ang="0">
                    <a:pos x="42" y="0"/>
                  </a:cxn>
                </a:cxnLst>
                <a:rect l="0" t="0" r="r" b="b"/>
                <a:pathLst>
                  <a:path w="44" h="29">
                    <a:moveTo>
                      <a:pt x="42" y="0"/>
                    </a:moveTo>
                    <a:cubicBezTo>
                      <a:pt x="19" y="0"/>
                      <a:pt x="0" y="12"/>
                      <a:pt x="0" y="27"/>
                    </a:cubicBezTo>
                    <a:cubicBezTo>
                      <a:pt x="0" y="28"/>
                      <a:pt x="0" y="29"/>
                      <a:pt x="1" y="29"/>
                    </a:cubicBezTo>
                    <a:cubicBezTo>
                      <a:pt x="3" y="29"/>
                      <a:pt x="3" y="28"/>
                      <a:pt x="3" y="27"/>
                    </a:cubicBezTo>
                    <a:cubicBezTo>
                      <a:pt x="3" y="15"/>
                      <a:pt x="21" y="4"/>
                      <a:pt x="42" y="4"/>
                    </a:cubicBezTo>
                    <a:cubicBezTo>
                      <a:pt x="43" y="4"/>
                      <a:pt x="44" y="3"/>
                      <a:pt x="44" y="2"/>
                    </a:cubicBezTo>
                    <a:cubicBezTo>
                      <a:pt x="44" y="1"/>
                      <a:pt x="43" y="0"/>
                      <a:pt x="42" y="0"/>
                    </a:cubicBezTo>
                    <a:close/>
                    <a:moveTo>
                      <a:pt x="42" y="0"/>
                    </a:moveTo>
                    <a:cubicBezTo>
                      <a:pt x="42" y="0"/>
                      <a:pt x="42" y="0"/>
                      <a:pt x="42" y="0"/>
                    </a:cubicBez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52">
                <a:extLst>
                  <a:ext uri="{FF2B5EF4-FFF2-40B4-BE49-F238E27FC236}">
                    <a16:creationId xmlns:a16="http://schemas.microsoft.com/office/drawing/2014/main" id="{C94FCED5-D11E-6566-4278-1A603E91207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783638" y="1235076"/>
                <a:ext cx="360363" cy="312738"/>
              </a:xfrm>
              <a:custGeom>
                <a:avLst/>
                <a:gdLst/>
                <a:ahLst/>
                <a:cxnLst>
                  <a:cxn ang="0">
                    <a:pos x="62" y="0"/>
                  </a:cxn>
                  <a:cxn ang="0">
                    <a:pos x="0" y="46"/>
                  </a:cxn>
                  <a:cxn ang="0">
                    <a:pos x="27" y="84"/>
                  </a:cxn>
                  <a:cxn ang="0">
                    <a:pos x="27" y="84"/>
                  </a:cxn>
                  <a:cxn ang="0">
                    <a:pos x="20" y="102"/>
                  </a:cxn>
                  <a:cxn ang="0">
                    <a:pos x="20" y="104"/>
                  </a:cxn>
                  <a:cxn ang="0">
                    <a:pos x="23" y="107"/>
                  </a:cxn>
                  <a:cxn ang="0">
                    <a:pos x="24" y="107"/>
                  </a:cxn>
                  <a:cxn ang="0">
                    <a:pos x="50" y="91"/>
                  </a:cxn>
                  <a:cxn ang="0">
                    <a:pos x="62" y="92"/>
                  </a:cxn>
                  <a:cxn ang="0">
                    <a:pos x="123" y="46"/>
                  </a:cxn>
                  <a:cxn ang="0">
                    <a:pos x="62" y="0"/>
                  </a:cxn>
                  <a:cxn ang="0">
                    <a:pos x="62" y="84"/>
                  </a:cxn>
                  <a:cxn ang="0">
                    <a:pos x="51" y="83"/>
                  </a:cxn>
                  <a:cxn ang="0">
                    <a:pos x="50" y="83"/>
                  </a:cxn>
                  <a:cxn ang="0">
                    <a:pos x="44" y="86"/>
                  </a:cxn>
                  <a:cxn ang="0">
                    <a:pos x="32" y="96"/>
                  </a:cxn>
                  <a:cxn ang="0">
                    <a:pos x="35" y="85"/>
                  </a:cxn>
                  <a:cxn ang="0">
                    <a:pos x="35" y="84"/>
                  </a:cxn>
                  <a:cxn ang="0">
                    <a:pos x="31" y="77"/>
                  </a:cxn>
                  <a:cxn ang="0">
                    <a:pos x="8" y="46"/>
                  </a:cxn>
                  <a:cxn ang="0">
                    <a:pos x="62" y="7"/>
                  </a:cxn>
                  <a:cxn ang="0">
                    <a:pos x="115" y="46"/>
                  </a:cxn>
                  <a:cxn ang="0">
                    <a:pos x="62" y="84"/>
                  </a:cxn>
                  <a:cxn ang="0">
                    <a:pos x="62" y="84"/>
                  </a:cxn>
                  <a:cxn ang="0">
                    <a:pos x="62" y="84"/>
                  </a:cxn>
                </a:cxnLst>
                <a:rect l="0" t="0" r="r" b="b"/>
                <a:pathLst>
                  <a:path w="123" h="107">
                    <a:moveTo>
                      <a:pt x="62" y="0"/>
                    </a:moveTo>
                    <a:cubicBezTo>
                      <a:pt x="28" y="0"/>
                      <a:pt x="0" y="20"/>
                      <a:pt x="0" y="46"/>
                    </a:cubicBezTo>
                    <a:cubicBezTo>
                      <a:pt x="0" y="62"/>
                      <a:pt x="11" y="76"/>
                      <a:pt x="27" y="84"/>
                    </a:cubicBezTo>
                    <a:cubicBezTo>
                      <a:pt x="27" y="84"/>
                      <a:pt x="27" y="84"/>
                      <a:pt x="27" y="84"/>
                    </a:cubicBezTo>
                    <a:cubicBezTo>
                      <a:pt x="27" y="91"/>
                      <a:pt x="22" y="98"/>
                      <a:pt x="20" y="102"/>
                    </a:cubicBezTo>
                    <a:cubicBezTo>
                      <a:pt x="20" y="103"/>
                      <a:pt x="20" y="103"/>
                      <a:pt x="20" y="104"/>
                    </a:cubicBezTo>
                    <a:cubicBezTo>
                      <a:pt x="20" y="106"/>
                      <a:pt x="21" y="107"/>
                      <a:pt x="23" y="107"/>
                    </a:cubicBezTo>
                    <a:cubicBezTo>
                      <a:pt x="23" y="107"/>
                      <a:pt x="24" y="107"/>
                      <a:pt x="24" y="107"/>
                    </a:cubicBezTo>
                    <a:cubicBezTo>
                      <a:pt x="36" y="105"/>
                      <a:pt x="47" y="94"/>
                      <a:pt x="50" y="91"/>
                    </a:cubicBezTo>
                    <a:cubicBezTo>
                      <a:pt x="54" y="92"/>
                      <a:pt x="58" y="92"/>
                      <a:pt x="62" y="92"/>
                    </a:cubicBezTo>
                    <a:cubicBezTo>
                      <a:pt x="96" y="92"/>
                      <a:pt x="123" y="71"/>
                      <a:pt x="123" y="46"/>
                    </a:cubicBezTo>
                    <a:cubicBezTo>
                      <a:pt x="123" y="20"/>
                      <a:pt x="96" y="0"/>
                      <a:pt x="62" y="0"/>
                    </a:cubicBezTo>
                    <a:close/>
                    <a:moveTo>
                      <a:pt x="62" y="84"/>
                    </a:moveTo>
                    <a:cubicBezTo>
                      <a:pt x="58" y="84"/>
                      <a:pt x="55" y="84"/>
                      <a:pt x="51" y="83"/>
                    </a:cubicBezTo>
                    <a:cubicBezTo>
                      <a:pt x="51" y="83"/>
                      <a:pt x="50" y="83"/>
                      <a:pt x="50" y="83"/>
                    </a:cubicBezTo>
                    <a:cubicBezTo>
                      <a:pt x="48" y="83"/>
                      <a:pt x="45" y="84"/>
                      <a:pt x="44" y="86"/>
                    </a:cubicBezTo>
                    <a:cubicBezTo>
                      <a:pt x="42" y="88"/>
                      <a:pt x="38" y="93"/>
                      <a:pt x="32" y="96"/>
                    </a:cubicBezTo>
                    <a:cubicBezTo>
                      <a:pt x="34" y="92"/>
                      <a:pt x="35" y="89"/>
                      <a:pt x="35" y="85"/>
                    </a:cubicBezTo>
                    <a:cubicBezTo>
                      <a:pt x="35" y="84"/>
                      <a:pt x="35" y="84"/>
                      <a:pt x="35" y="84"/>
                    </a:cubicBezTo>
                    <a:cubicBezTo>
                      <a:pt x="35" y="81"/>
                      <a:pt x="33" y="78"/>
                      <a:pt x="31" y="77"/>
                    </a:cubicBezTo>
                    <a:cubicBezTo>
                      <a:pt x="17" y="70"/>
                      <a:pt x="8" y="58"/>
                      <a:pt x="8" y="46"/>
                    </a:cubicBezTo>
                    <a:cubicBezTo>
                      <a:pt x="8" y="25"/>
                      <a:pt x="32" y="7"/>
                      <a:pt x="62" y="7"/>
                    </a:cubicBezTo>
                    <a:cubicBezTo>
                      <a:pt x="91" y="7"/>
                      <a:pt x="115" y="25"/>
                      <a:pt x="115" y="46"/>
                    </a:cubicBezTo>
                    <a:cubicBezTo>
                      <a:pt x="115" y="67"/>
                      <a:pt x="91" y="84"/>
                      <a:pt x="62" y="84"/>
                    </a:cubicBezTo>
                    <a:close/>
                    <a:moveTo>
                      <a:pt x="62" y="84"/>
                    </a:moveTo>
                    <a:cubicBezTo>
                      <a:pt x="62" y="84"/>
                      <a:pt x="62" y="84"/>
                      <a:pt x="62" y="84"/>
                    </a:cubicBez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46" name="Freeform 53">
            <a:extLst>
              <a:ext uri="{FF2B5EF4-FFF2-40B4-BE49-F238E27FC236}">
                <a16:creationId xmlns:a16="http://schemas.microsoft.com/office/drawing/2014/main" id="{DE81EB50-3981-B794-7C43-7B7A23B3A9D6}"/>
              </a:ext>
            </a:extLst>
          </p:cNvPr>
          <p:cNvSpPr>
            <a:spLocks noEditPoints="1"/>
          </p:cNvSpPr>
          <p:nvPr/>
        </p:nvSpPr>
        <p:spPr bwMode="auto">
          <a:xfrm>
            <a:off x="5681938" y="3460785"/>
            <a:ext cx="814954" cy="721716"/>
          </a:xfrm>
          <a:custGeom>
            <a:avLst/>
            <a:gdLst>
              <a:gd name="T0" fmla="*/ 232 w 256"/>
              <a:gd name="T1" fmla="*/ 84 h 227"/>
              <a:gd name="T2" fmla="*/ 172 w 256"/>
              <a:gd name="T3" fmla="*/ 44 h 227"/>
              <a:gd name="T4" fmla="*/ 120 w 256"/>
              <a:gd name="T5" fmla="*/ 48 h 227"/>
              <a:gd name="T6" fmla="*/ 64 w 256"/>
              <a:gd name="T7" fmla="*/ 107 h 227"/>
              <a:gd name="T8" fmla="*/ 0 w 256"/>
              <a:gd name="T9" fmla="*/ 131 h 227"/>
              <a:gd name="T10" fmla="*/ 32 w 256"/>
              <a:gd name="T11" fmla="*/ 227 h 227"/>
              <a:gd name="T12" fmla="*/ 87 w 256"/>
              <a:gd name="T13" fmla="*/ 212 h 227"/>
              <a:gd name="T14" fmla="*/ 103 w 256"/>
              <a:gd name="T15" fmla="*/ 219 h 227"/>
              <a:gd name="T16" fmla="*/ 232 w 256"/>
              <a:gd name="T17" fmla="*/ 197 h 227"/>
              <a:gd name="T18" fmla="*/ 240 w 256"/>
              <a:gd name="T19" fmla="*/ 169 h 227"/>
              <a:gd name="T20" fmla="*/ 248 w 256"/>
              <a:gd name="T21" fmla="*/ 140 h 227"/>
              <a:gd name="T22" fmla="*/ 256 w 256"/>
              <a:gd name="T23" fmla="*/ 108 h 227"/>
              <a:gd name="T24" fmla="*/ 32 w 256"/>
              <a:gd name="T25" fmla="*/ 211 h 227"/>
              <a:gd name="T26" fmla="*/ 16 w 256"/>
              <a:gd name="T27" fmla="*/ 131 h 227"/>
              <a:gd name="T28" fmla="*/ 64 w 256"/>
              <a:gd name="T29" fmla="*/ 123 h 227"/>
              <a:gd name="T30" fmla="*/ 72 w 256"/>
              <a:gd name="T31" fmla="*/ 198 h 227"/>
              <a:gd name="T32" fmla="*/ 72 w 256"/>
              <a:gd name="T33" fmla="*/ 203 h 227"/>
              <a:gd name="T34" fmla="*/ 210 w 256"/>
              <a:gd name="T35" fmla="*/ 203 h 227"/>
              <a:gd name="T36" fmla="*/ 88 w 256"/>
              <a:gd name="T37" fmla="*/ 194 h 227"/>
              <a:gd name="T38" fmla="*/ 86 w 256"/>
              <a:gd name="T39" fmla="*/ 121 h 227"/>
              <a:gd name="T40" fmla="*/ 140 w 256"/>
              <a:gd name="T41" fmla="*/ 16 h 227"/>
              <a:gd name="T42" fmla="*/ 152 w 256"/>
              <a:gd name="T43" fmla="*/ 90 h 227"/>
              <a:gd name="T44" fmla="*/ 160 w 256"/>
              <a:gd name="T45" fmla="*/ 100 h 227"/>
              <a:gd name="T46" fmla="*/ 240 w 256"/>
              <a:gd name="T47" fmla="*/ 108 h 227"/>
              <a:gd name="T48" fmla="*/ 223 w 256"/>
              <a:gd name="T49" fmla="*/ 116 h 227"/>
              <a:gd name="T50" fmla="*/ 223 w 256"/>
              <a:gd name="T51" fmla="*/ 132 h 227"/>
              <a:gd name="T52" fmla="*/ 224 w 256"/>
              <a:gd name="T53" fmla="*/ 132 h 227"/>
              <a:gd name="T54" fmla="*/ 224 w 256"/>
              <a:gd name="T55" fmla="*/ 148 h 227"/>
              <a:gd name="T56" fmla="*/ 218 w 256"/>
              <a:gd name="T57" fmla="*/ 147 h 227"/>
              <a:gd name="T58" fmla="*/ 215 w 256"/>
              <a:gd name="T59" fmla="*/ 148 h 227"/>
              <a:gd name="T60" fmla="*/ 215 w 256"/>
              <a:gd name="T61" fmla="*/ 164 h 227"/>
              <a:gd name="T62" fmla="*/ 224 w 256"/>
              <a:gd name="T63" fmla="*/ 169 h 227"/>
              <a:gd name="T64" fmla="*/ 210 w 256"/>
              <a:gd name="T65" fmla="*/ 175 h 227"/>
              <a:gd name="T66" fmla="*/ 210 w 256"/>
              <a:gd name="T67" fmla="*/ 175 h 227"/>
              <a:gd name="T68" fmla="*/ 210 w 256"/>
              <a:gd name="T69" fmla="*/ 191 h 227"/>
              <a:gd name="T70" fmla="*/ 210 w 256"/>
              <a:gd name="T71" fmla="*/ 203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56" h="227">
                <a:moveTo>
                  <a:pt x="256" y="108"/>
                </a:moveTo>
                <a:cubicBezTo>
                  <a:pt x="256" y="94"/>
                  <a:pt x="245" y="84"/>
                  <a:pt x="232" y="84"/>
                </a:cubicBezTo>
                <a:cubicBezTo>
                  <a:pt x="169" y="84"/>
                  <a:pt x="169" y="84"/>
                  <a:pt x="169" y="84"/>
                </a:cubicBezTo>
                <a:cubicBezTo>
                  <a:pt x="171" y="74"/>
                  <a:pt x="172" y="59"/>
                  <a:pt x="172" y="44"/>
                </a:cubicBezTo>
                <a:cubicBezTo>
                  <a:pt x="172" y="13"/>
                  <a:pt x="156" y="0"/>
                  <a:pt x="140" y="0"/>
                </a:cubicBezTo>
                <a:cubicBezTo>
                  <a:pt x="120" y="0"/>
                  <a:pt x="120" y="21"/>
                  <a:pt x="120" y="48"/>
                </a:cubicBezTo>
                <a:cubicBezTo>
                  <a:pt x="120" y="67"/>
                  <a:pt x="90" y="97"/>
                  <a:pt x="75" y="110"/>
                </a:cubicBezTo>
                <a:cubicBezTo>
                  <a:pt x="71" y="108"/>
                  <a:pt x="68" y="107"/>
                  <a:pt x="64" y="107"/>
                </a:cubicBezTo>
                <a:cubicBezTo>
                  <a:pt x="24" y="107"/>
                  <a:pt x="24" y="107"/>
                  <a:pt x="24" y="107"/>
                </a:cubicBezTo>
                <a:cubicBezTo>
                  <a:pt x="11" y="107"/>
                  <a:pt x="0" y="118"/>
                  <a:pt x="0" y="131"/>
                </a:cubicBezTo>
                <a:cubicBezTo>
                  <a:pt x="8" y="203"/>
                  <a:pt x="8" y="203"/>
                  <a:pt x="8" y="203"/>
                </a:cubicBezTo>
                <a:cubicBezTo>
                  <a:pt x="10" y="216"/>
                  <a:pt x="19" y="227"/>
                  <a:pt x="32" y="227"/>
                </a:cubicBezTo>
                <a:cubicBezTo>
                  <a:pt x="64" y="227"/>
                  <a:pt x="64" y="227"/>
                  <a:pt x="64" y="227"/>
                </a:cubicBezTo>
                <a:cubicBezTo>
                  <a:pt x="74" y="227"/>
                  <a:pt x="83" y="221"/>
                  <a:pt x="87" y="212"/>
                </a:cubicBezTo>
                <a:cubicBezTo>
                  <a:pt x="100" y="219"/>
                  <a:pt x="100" y="219"/>
                  <a:pt x="100" y="219"/>
                </a:cubicBezTo>
                <a:cubicBezTo>
                  <a:pt x="101" y="219"/>
                  <a:pt x="102" y="219"/>
                  <a:pt x="103" y="219"/>
                </a:cubicBezTo>
                <a:cubicBezTo>
                  <a:pt x="210" y="219"/>
                  <a:pt x="210" y="219"/>
                  <a:pt x="210" y="219"/>
                </a:cubicBezTo>
                <a:cubicBezTo>
                  <a:pt x="222" y="219"/>
                  <a:pt x="232" y="210"/>
                  <a:pt x="232" y="197"/>
                </a:cubicBezTo>
                <a:cubicBezTo>
                  <a:pt x="232" y="194"/>
                  <a:pt x="231" y="191"/>
                  <a:pt x="230" y="188"/>
                </a:cubicBezTo>
                <a:cubicBezTo>
                  <a:pt x="236" y="184"/>
                  <a:pt x="240" y="177"/>
                  <a:pt x="240" y="169"/>
                </a:cubicBezTo>
                <a:cubicBezTo>
                  <a:pt x="240" y="166"/>
                  <a:pt x="239" y="162"/>
                  <a:pt x="238" y="159"/>
                </a:cubicBezTo>
                <a:cubicBezTo>
                  <a:pt x="244" y="155"/>
                  <a:pt x="248" y="148"/>
                  <a:pt x="248" y="140"/>
                </a:cubicBezTo>
                <a:cubicBezTo>
                  <a:pt x="248" y="135"/>
                  <a:pt x="247" y="131"/>
                  <a:pt x="245" y="128"/>
                </a:cubicBezTo>
                <a:cubicBezTo>
                  <a:pt x="252" y="123"/>
                  <a:pt x="256" y="116"/>
                  <a:pt x="256" y="108"/>
                </a:cubicBezTo>
                <a:close/>
                <a:moveTo>
                  <a:pt x="64" y="211"/>
                </a:moveTo>
                <a:cubicBezTo>
                  <a:pt x="32" y="211"/>
                  <a:pt x="32" y="211"/>
                  <a:pt x="32" y="211"/>
                </a:cubicBezTo>
                <a:cubicBezTo>
                  <a:pt x="28" y="211"/>
                  <a:pt x="25" y="206"/>
                  <a:pt x="24" y="202"/>
                </a:cubicBezTo>
                <a:cubicBezTo>
                  <a:pt x="16" y="131"/>
                  <a:pt x="16" y="131"/>
                  <a:pt x="16" y="131"/>
                </a:cubicBezTo>
                <a:cubicBezTo>
                  <a:pt x="17" y="127"/>
                  <a:pt x="20" y="123"/>
                  <a:pt x="24" y="123"/>
                </a:cubicBezTo>
                <a:cubicBezTo>
                  <a:pt x="64" y="123"/>
                  <a:pt x="64" y="123"/>
                  <a:pt x="64" y="123"/>
                </a:cubicBezTo>
                <a:cubicBezTo>
                  <a:pt x="69" y="123"/>
                  <a:pt x="72" y="127"/>
                  <a:pt x="72" y="131"/>
                </a:cubicBezTo>
                <a:cubicBezTo>
                  <a:pt x="72" y="198"/>
                  <a:pt x="72" y="198"/>
                  <a:pt x="72" y="198"/>
                </a:cubicBezTo>
                <a:cubicBezTo>
                  <a:pt x="72" y="199"/>
                  <a:pt x="72" y="200"/>
                  <a:pt x="72" y="201"/>
                </a:cubicBezTo>
                <a:cubicBezTo>
                  <a:pt x="72" y="203"/>
                  <a:pt x="72" y="203"/>
                  <a:pt x="72" y="203"/>
                </a:cubicBezTo>
                <a:cubicBezTo>
                  <a:pt x="72" y="208"/>
                  <a:pt x="69" y="211"/>
                  <a:pt x="64" y="211"/>
                </a:cubicBezTo>
                <a:close/>
                <a:moveTo>
                  <a:pt x="210" y="203"/>
                </a:moveTo>
                <a:cubicBezTo>
                  <a:pt x="105" y="203"/>
                  <a:pt x="105" y="203"/>
                  <a:pt x="105" y="203"/>
                </a:cubicBezTo>
                <a:cubicBezTo>
                  <a:pt x="88" y="194"/>
                  <a:pt x="88" y="194"/>
                  <a:pt x="88" y="194"/>
                </a:cubicBezTo>
                <a:cubicBezTo>
                  <a:pt x="88" y="131"/>
                  <a:pt x="88" y="131"/>
                  <a:pt x="88" y="131"/>
                </a:cubicBezTo>
                <a:cubicBezTo>
                  <a:pt x="88" y="128"/>
                  <a:pt x="87" y="124"/>
                  <a:pt x="86" y="121"/>
                </a:cubicBezTo>
                <a:cubicBezTo>
                  <a:pt x="100" y="109"/>
                  <a:pt x="136" y="75"/>
                  <a:pt x="136" y="48"/>
                </a:cubicBezTo>
                <a:cubicBezTo>
                  <a:pt x="136" y="31"/>
                  <a:pt x="136" y="16"/>
                  <a:pt x="140" y="16"/>
                </a:cubicBezTo>
                <a:cubicBezTo>
                  <a:pt x="148" y="16"/>
                  <a:pt x="156" y="25"/>
                  <a:pt x="156" y="44"/>
                </a:cubicBezTo>
                <a:cubicBezTo>
                  <a:pt x="156" y="67"/>
                  <a:pt x="152" y="90"/>
                  <a:pt x="152" y="90"/>
                </a:cubicBezTo>
                <a:cubicBezTo>
                  <a:pt x="152" y="93"/>
                  <a:pt x="153" y="95"/>
                  <a:pt x="154" y="97"/>
                </a:cubicBezTo>
                <a:cubicBezTo>
                  <a:pt x="156" y="98"/>
                  <a:pt x="158" y="100"/>
                  <a:pt x="160" y="100"/>
                </a:cubicBezTo>
                <a:cubicBezTo>
                  <a:pt x="232" y="100"/>
                  <a:pt x="232" y="100"/>
                  <a:pt x="232" y="100"/>
                </a:cubicBezTo>
                <a:cubicBezTo>
                  <a:pt x="237" y="100"/>
                  <a:pt x="240" y="103"/>
                  <a:pt x="240" y="108"/>
                </a:cubicBezTo>
                <a:cubicBezTo>
                  <a:pt x="240" y="112"/>
                  <a:pt x="237" y="116"/>
                  <a:pt x="232" y="116"/>
                </a:cubicBezTo>
                <a:cubicBezTo>
                  <a:pt x="223" y="116"/>
                  <a:pt x="223" y="116"/>
                  <a:pt x="223" y="116"/>
                </a:cubicBezTo>
                <a:cubicBezTo>
                  <a:pt x="219" y="116"/>
                  <a:pt x="215" y="119"/>
                  <a:pt x="215" y="124"/>
                </a:cubicBezTo>
                <a:cubicBezTo>
                  <a:pt x="215" y="128"/>
                  <a:pt x="219" y="132"/>
                  <a:pt x="223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9" y="132"/>
                  <a:pt x="232" y="135"/>
                  <a:pt x="232" y="140"/>
                </a:cubicBezTo>
                <a:cubicBezTo>
                  <a:pt x="232" y="144"/>
                  <a:pt x="229" y="148"/>
                  <a:pt x="224" y="148"/>
                </a:cubicBezTo>
                <a:cubicBezTo>
                  <a:pt x="219" y="148"/>
                  <a:pt x="219" y="148"/>
                  <a:pt x="219" y="148"/>
                </a:cubicBezTo>
                <a:cubicBezTo>
                  <a:pt x="219" y="148"/>
                  <a:pt x="218" y="147"/>
                  <a:pt x="218" y="147"/>
                </a:cubicBezTo>
                <a:cubicBezTo>
                  <a:pt x="218" y="147"/>
                  <a:pt x="218" y="148"/>
                  <a:pt x="218" y="148"/>
                </a:cubicBezTo>
                <a:cubicBezTo>
                  <a:pt x="215" y="148"/>
                  <a:pt x="215" y="148"/>
                  <a:pt x="215" y="148"/>
                </a:cubicBezTo>
                <a:cubicBezTo>
                  <a:pt x="211" y="148"/>
                  <a:pt x="207" y="151"/>
                  <a:pt x="207" y="156"/>
                </a:cubicBezTo>
                <a:cubicBezTo>
                  <a:pt x="207" y="160"/>
                  <a:pt x="211" y="164"/>
                  <a:pt x="215" y="164"/>
                </a:cubicBezTo>
                <a:cubicBezTo>
                  <a:pt x="218" y="164"/>
                  <a:pt x="218" y="164"/>
                  <a:pt x="218" y="164"/>
                </a:cubicBezTo>
                <a:cubicBezTo>
                  <a:pt x="222" y="164"/>
                  <a:pt x="224" y="166"/>
                  <a:pt x="224" y="169"/>
                </a:cubicBezTo>
                <a:cubicBezTo>
                  <a:pt x="224" y="173"/>
                  <a:pt x="221" y="175"/>
                  <a:pt x="218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06" y="175"/>
                  <a:pt x="202" y="179"/>
                  <a:pt x="202" y="183"/>
                </a:cubicBezTo>
                <a:cubicBezTo>
                  <a:pt x="202" y="188"/>
                  <a:pt x="206" y="191"/>
                  <a:pt x="210" y="191"/>
                </a:cubicBezTo>
                <a:cubicBezTo>
                  <a:pt x="213" y="191"/>
                  <a:pt x="216" y="194"/>
                  <a:pt x="216" y="197"/>
                </a:cubicBezTo>
                <a:cubicBezTo>
                  <a:pt x="216" y="201"/>
                  <a:pt x="213" y="203"/>
                  <a:pt x="210" y="203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US" sz="840">
              <a:solidFill>
                <a:schemeClr val="tx2"/>
              </a:solidFill>
            </a:endParaRPr>
          </a:p>
        </p:txBody>
      </p:sp>
      <p:sp>
        <p:nvSpPr>
          <p:cNvPr id="47" name="Inhaltsplatzhalter 4">
            <a:extLst>
              <a:ext uri="{FF2B5EF4-FFF2-40B4-BE49-F238E27FC236}">
                <a16:creationId xmlns:a16="http://schemas.microsoft.com/office/drawing/2014/main" id="{C0A652DC-C9F6-A664-CE4F-B150C98628B6}"/>
              </a:ext>
            </a:extLst>
          </p:cNvPr>
          <p:cNvSpPr txBox="1">
            <a:spLocks/>
          </p:cNvSpPr>
          <p:nvPr/>
        </p:nvSpPr>
        <p:spPr>
          <a:xfrm flipH="1">
            <a:off x="1104447" y="1982299"/>
            <a:ext cx="2458163" cy="75405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rgbClr val="EF224B"/>
                </a:solidFill>
                <a:latin typeface="+mj-lt"/>
              </a:rPr>
              <a:t>TITLE GOES HERE</a:t>
            </a:r>
            <a:br>
              <a:rPr lang="en-US" sz="1400" b="1" dirty="0">
                <a:solidFill>
                  <a:srgbClr val="EF224B"/>
                </a:solidFill>
                <a:latin typeface="+mj-lt"/>
              </a:rPr>
            </a:br>
            <a:r>
              <a:rPr lang="en-US" sz="11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48" name="Inhaltsplatzhalter 4">
            <a:extLst>
              <a:ext uri="{FF2B5EF4-FFF2-40B4-BE49-F238E27FC236}">
                <a16:creationId xmlns:a16="http://schemas.microsoft.com/office/drawing/2014/main" id="{97F2E4C3-5D87-1852-58EB-30A78A88186F}"/>
              </a:ext>
            </a:extLst>
          </p:cNvPr>
          <p:cNvSpPr txBox="1">
            <a:spLocks/>
          </p:cNvSpPr>
          <p:nvPr/>
        </p:nvSpPr>
        <p:spPr>
          <a:xfrm>
            <a:off x="8616181" y="1982299"/>
            <a:ext cx="2458163" cy="75405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accent1"/>
                </a:solidFill>
                <a:latin typeface="+mj-lt"/>
              </a:rPr>
              <a:t>TITLE GOES HERE</a:t>
            </a:r>
            <a:br>
              <a:rPr lang="en-US" sz="1400" b="1" dirty="0">
                <a:solidFill>
                  <a:schemeClr val="bg1">
                    <a:lumMod val="50000"/>
                  </a:schemeClr>
                </a:solidFill>
                <a:latin typeface="+mj-lt"/>
              </a:rPr>
            </a:br>
            <a:r>
              <a:rPr lang="en-US" sz="11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49" name="Inhaltsplatzhalter 4">
            <a:extLst>
              <a:ext uri="{FF2B5EF4-FFF2-40B4-BE49-F238E27FC236}">
                <a16:creationId xmlns:a16="http://schemas.microsoft.com/office/drawing/2014/main" id="{F70AD599-7F33-F64F-A379-0D18BEA08DF1}"/>
              </a:ext>
            </a:extLst>
          </p:cNvPr>
          <p:cNvSpPr txBox="1">
            <a:spLocks/>
          </p:cNvSpPr>
          <p:nvPr/>
        </p:nvSpPr>
        <p:spPr>
          <a:xfrm flipH="1">
            <a:off x="8602971" y="4786540"/>
            <a:ext cx="2484583" cy="75405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accent2"/>
                </a:solidFill>
                <a:latin typeface="+mj-lt"/>
              </a:rPr>
              <a:t>TITLE GOES HERE</a:t>
            </a:r>
            <a:br>
              <a:rPr lang="en-US" sz="1400" b="1" dirty="0">
                <a:solidFill>
                  <a:schemeClr val="accent2"/>
                </a:solidFill>
                <a:latin typeface="+mj-lt"/>
              </a:rPr>
            </a:br>
            <a:r>
              <a:rPr lang="en-US" sz="11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50" name="Inhaltsplatzhalter 4">
            <a:extLst>
              <a:ext uri="{FF2B5EF4-FFF2-40B4-BE49-F238E27FC236}">
                <a16:creationId xmlns:a16="http://schemas.microsoft.com/office/drawing/2014/main" id="{AAEA2B29-B523-EA97-8AEE-6979274A6C27}"/>
              </a:ext>
            </a:extLst>
          </p:cNvPr>
          <p:cNvSpPr txBox="1">
            <a:spLocks/>
          </p:cNvSpPr>
          <p:nvPr/>
        </p:nvSpPr>
        <p:spPr>
          <a:xfrm flipH="1">
            <a:off x="1112546" y="4786540"/>
            <a:ext cx="2441964" cy="75405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accent3"/>
                </a:solidFill>
                <a:latin typeface="+mj-lt"/>
              </a:rPr>
              <a:t>TITLE GOES HERE</a:t>
            </a:r>
            <a:br>
              <a:rPr lang="en-US" sz="1400" b="1" dirty="0">
                <a:solidFill>
                  <a:schemeClr val="accent3"/>
                </a:solidFill>
                <a:latin typeface="+mj-lt"/>
              </a:rPr>
            </a:br>
            <a:r>
              <a:rPr lang="en-US" sz="11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51" name="Star: 5 Points 50">
            <a:extLst>
              <a:ext uri="{FF2B5EF4-FFF2-40B4-BE49-F238E27FC236}">
                <a16:creationId xmlns:a16="http://schemas.microsoft.com/office/drawing/2014/main" id="{6452FEE8-A465-53FD-F411-32D129B79364}"/>
              </a:ext>
            </a:extLst>
          </p:cNvPr>
          <p:cNvSpPr/>
          <p:nvPr/>
        </p:nvSpPr>
        <p:spPr>
          <a:xfrm>
            <a:off x="5902688" y="2056948"/>
            <a:ext cx="324728" cy="324728"/>
          </a:xfrm>
          <a:prstGeom prst="star5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Star: 5 Points 51">
            <a:extLst>
              <a:ext uri="{FF2B5EF4-FFF2-40B4-BE49-F238E27FC236}">
                <a16:creationId xmlns:a16="http://schemas.microsoft.com/office/drawing/2014/main" id="{26430B44-8714-B915-0838-206EDE72E808}"/>
              </a:ext>
            </a:extLst>
          </p:cNvPr>
          <p:cNvSpPr/>
          <p:nvPr/>
        </p:nvSpPr>
        <p:spPr>
          <a:xfrm>
            <a:off x="5902688" y="5347147"/>
            <a:ext cx="324728" cy="324728"/>
          </a:xfrm>
          <a:prstGeom prst="star5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Star: 5 Points 52">
            <a:extLst>
              <a:ext uri="{FF2B5EF4-FFF2-40B4-BE49-F238E27FC236}">
                <a16:creationId xmlns:a16="http://schemas.microsoft.com/office/drawing/2014/main" id="{D0DE16E1-ED82-8826-F15C-242A8C04EE9A}"/>
              </a:ext>
            </a:extLst>
          </p:cNvPr>
          <p:cNvSpPr/>
          <p:nvPr/>
        </p:nvSpPr>
        <p:spPr>
          <a:xfrm>
            <a:off x="7536623" y="3700146"/>
            <a:ext cx="324728" cy="324728"/>
          </a:xfrm>
          <a:prstGeom prst="star5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Star: 5 Points 53">
            <a:extLst>
              <a:ext uri="{FF2B5EF4-FFF2-40B4-BE49-F238E27FC236}">
                <a16:creationId xmlns:a16="http://schemas.microsoft.com/office/drawing/2014/main" id="{A1C4AD2C-269F-5C91-8B70-4065558A6002}"/>
              </a:ext>
            </a:extLst>
          </p:cNvPr>
          <p:cNvSpPr/>
          <p:nvPr/>
        </p:nvSpPr>
        <p:spPr>
          <a:xfrm>
            <a:off x="4221591" y="3700146"/>
            <a:ext cx="324728" cy="324728"/>
          </a:xfrm>
          <a:prstGeom prst="star5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53487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589</TotalTime>
  <Words>110</Words>
  <Application>Microsoft Office PowerPoint</Application>
  <PresentationFormat>Widescreen</PresentationFormat>
  <Paragraphs>1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2" baseType="lpstr">
      <vt:lpstr>Arial</vt:lpstr>
      <vt:lpstr>Calibri</vt:lpstr>
      <vt:lpstr>Courier New</vt:lpstr>
      <vt:lpstr>Crimson Pro</vt:lpstr>
      <vt:lpstr>Lato Light</vt:lpstr>
      <vt:lpstr>linea-basic-10</vt:lpstr>
      <vt:lpstr>Montserrat Light</vt:lpstr>
      <vt:lpstr>Montserrat SemiBold</vt:lpstr>
      <vt:lpstr>Wingdings</vt:lpstr>
      <vt:lpstr>Office Theme</vt:lpstr>
      <vt:lpstr>think-cell Slide</vt:lpstr>
      <vt:lpstr>Circ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486</cp:revision>
  <dcterms:created xsi:type="dcterms:W3CDTF">2021-03-31T02:49:57Z</dcterms:created>
  <dcterms:modified xsi:type="dcterms:W3CDTF">2025-10-15T08:32:33Z</dcterms:modified>
  <cp:category/>
</cp:coreProperties>
</file>